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slideLayouts/slideLayout24.xml" ContentType="application/vnd.openxmlformats-officedocument.presentationml.slideLayout+xml"/>
  <Override PartName="/ppt/theme/theme7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8.xml" ContentType="application/vnd.openxmlformats-officedocument.theme+xml"/>
  <Override PartName="/ppt/slideLayouts/slideLayout27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0.xml" ContentType="application/vnd.openxmlformats-officedocument.theme+xml"/>
  <Override PartName="/ppt/tags/tag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2.xml" ContentType="application/vnd.openxmlformats-officedocument.theme+xml"/>
  <Override PartName="/ppt/tags/tag9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6" r:id="rId4"/>
    <p:sldMasterId id="2147483792" r:id="rId5"/>
    <p:sldMasterId id="2147483794" r:id="rId6"/>
    <p:sldMasterId id="2147483816" r:id="rId7"/>
    <p:sldMasterId id="2147483818" r:id="rId8"/>
    <p:sldMasterId id="2147483929" r:id="rId9"/>
    <p:sldMasterId id="2147483777" r:id="rId10"/>
    <p:sldMasterId id="2147483809" r:id="rId11"/>
    <p:sldMasterId id="2147483826" r:id="rId12"/>
    <p:sldMasterId id="2147483844" r:id="rId13"/>
    <p:sldMasterId id="2147483865" r:id="rId14"/>
    <p:sldMasterId id="2147483905" r:id="rId15"/>
    <p:sldMasterId id="2147483924" r:id="rId16"/>
  </p:sldMasterIdLst>
  <p:notesMasterIdLst>
    <p:notesMasterId r:id="rId25"/>
  </p:notesMasterIdLst>
  <p:handoutMasterIdLst>
    <p:handoutMasterId r:id="rId26"/>
  </p:handoutMasterIdLst>
  <p:sldIdLst>
    <p:sldId id="2147474465" r:id="rId17"/>
    <p:sldId id="2147481792" r:id="rId18"/>
    <p:sldId id="2147481799" r:id="rId19"/>
    <p:sldId id="2147481800" r:id="rId20"/>
    <p:sldId id="2147481801" r:id="rId21"/>
    <p:sldId id="2147481798" r:id="rId22"/>
    <p:sldId id="2147481802" r:id="rId23"/>
    <p:sldId id="2147481795" r:id="rId2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A42E9D4-2F8F-45D9-B655-AAEA6E60BA83}">
          <p14:sldIdLst>
            <p14:sldId id="2147474465"/>
            <p14:sldId id="2147481792"/>
            <p14:sldId id="2147481799"/>
            <p14:sldId id="2147481800"/>
            <p14:sldId id="2147481801"/>
            <p14:sldId id="2147481798"/>
            <p14:sldId id="2147481802"/>
            <p14:sldId id="2147481795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6B6F417-7EF1-FC5B-F4D6-571BC66CF653}" name="Becker, Paulina" initials="BP" userId="S::paulina.becker_tennet.eu#ext#@entsoe00.onmicrosoft.com::80db675b-a3a3-4c79-8c61-0a6da66acc24" providerId="AD"/>
  <p188:author id="{1C61741C-8A0A-8A96-BD94-54CAA5E4F9C1}" name="Emiel Busse" initials="EB" userId="S::busse_jao.eu#ext#@entsoe00.onmicrosoft.com::f3d9b92b-6a97-4bca-963a-2c67fd073308" providerId="AD"/>
  <p188:author id="{622F6B38-6C4E-5511-0826-2E56AE77922A}" name="Jim Vilsson" initials="JV" userId="S::jvi_energinet.dk#ext#@entsoe00.onmicrosoft.com::5c8e6454-99fd-473d-929d-52ce669a2ca0" providerId="AD"/>
  <p188:author id="{14C09639-1865-14BA-EC79-CDDA9DC02074}" name="Ludivine Marcenac" initials="LM" userId="S::lmarcenac@entsoe.eu::c404ed9b-f53f-423f-91fc-0a66ae4dbdf7" providerId="AD"/>
  <p188:author id="{694B814A-F481-A15B-B23F-F79AA39E3EAA}" name="Patricia Brhlikova" initials="PB" userId="S::p.brhlikova@magnus.nl::9cc2669a-2428-44cf-ac14-8de73e31cca1" providerId="AD"/>
  <p188:author id="{8B34E556-B541-B333-3E12-DBCE4BCFA942}" name="Nicoletta Michael" initials="NM" userId="S::nmichael@entsoe.eu::fdafa4d3-970f-4618-bb55-6e85a6502b58" providerId="AD"/>
  <p188:author id="{80316484-569F-F797-80DE-ADB9654B78C8}" name="Max Knipschild" initials="MK" userId="S::m.knipschild_magnus.nl#ext#@entsoe00.onmicrosoft.com::27508f6a-3dba-4316-ba95-fa9642be3c62" providerId="AD"/>
  <p188:author id="{89F30694-4A8C-20C6-261A-4EFF523EF09E}" name="Van Campenhout Steve" initials="VS" userId="S::steve.vancampenhout_elia.be#ext#@entsoe00.onmicrosoft.com::227d3174-7197-42b8-8ed6-900ec3fac275" providerId="AD"/>
  <p188:author id="{96F767C7-101B-88EC-9426-E77FE6AB8D99}" name="Stefan Kraus" initials="KS" userId="Stefan Kraus" providerId="None"/>
  <p188:author id="{CB69A4CD-1261-6E0B-EAAE-88A04DE60A79}" name="Kraus, Stefan" initials="KS" userId="S::stefan.kraus_amprion.net#ext#@entsoe00.onmicrosoft.com::d40d60b4-31ad-4990-9bb5-6df52d09bcc6" providerId="AD"/>
  <p188:author id="{847CC3FE-4614-CE2A-995C-8BAE07962C3A}" name="Van Campenhout Steve" initials="SV" userId="S::HDE253@Belgrid.net::f1408855-cf60-49bb-934c-bccbeaee246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B7EB"/>
    <a:srgbClr val="7030A0"/>
    <a:srgbClr val="C00000"/>
    <a:srgbClr val="F37020"/>
    <a:srgbClr val="0FB29A"/>
    <a:srgbClr val="B0B0B0"/>
    <a:srgbClr val="FDEDDC"/>
    <a:srgbClr val="FFFFFF"/>
    <a:srgbClr val="FFC000"/>
    <a:srgbClr val="0F21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782639-6618-BA0C-8729-2D43E0CAEB25}" v="5" dt="2026-02-03T12:44:06.969"/>
    <p1510:client id="{FB39BA7A-55F7-42CD-AB84-120E399F38D7}" v="2" dt="2026-02-03T13:20:02.779"/>
  </p1510:revLst>
</p1510:revInfo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7" d="100"/>
          <a:sy n="117" d="100"/>
        </p:scale>
        <p:origin x="318" y="11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16076BE-F7D4-48CB-AF20-5E675EF0FCA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160DB0E-E7E5-4F2C-8405-AD7B9E62599A}">
      <dgm:prSet phldrT="[Text]" phldr="0"/>
      <dgm:spPr/>
      <dgm:t>
        <a:bodyPr/>
        <a:lstStyle/>
        <a:p>
          <a:r>
            <a:rPr lang="en-GB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Bidding Period</a:t>
          </a:r>
        </a:p>
      </dgm:t>
    </dgm:pt>
    <dgm:pt modelId="{9AE5472D-11E6-4E70-BEC2-9DF2EC33AF76}" type="parTrans" cxnId="{7261D41A-2DBF-4693-88C1-59029126DA57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266ECCDE-1CB5-4B08-A769-8CAB7B4935FE}" type="sibTrans" cxnId="{7261D41A-2DBF-4693-88C1-59029126DA57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E320F781-FC13-40DE-B32E-AF5E18973D72}">
      <dgm:prSet phldrT="[Text]" phldr="0"/>
      <dgm:spPr/>
      <dgm:t>
        <a:bodyPr/>
        <a:lstStyle/>
        <a:p>
          <a:r>
            <a:rPr lang="en-GB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redit Limit Verification incl. Bid Rejection</a:t>
          </a:r>
        </a:p>
      </dgm:t>
    </dgm:pt>
    <dgm:pt modelId="{B160A6A7-11DC-4526-8373-EBBCD349DA1E}" type="parTrans" cxnId="{C66CB002-0B08-4355-990D-15C7CA4E67C7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FA030C0C-1EB2-461A-B231-958F8BE38A72}" type="sibTrans" cxnId="{C66CB002-0B08-4355-990D-15C7CA4E67C7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4DF36F70-C1F7-4333-91C4-3F875F1E30B0}">
      <dgm:prSet phldrT="[Text]" phldr="0"/>
      <dgm:spPr/>
      <dgm:t>
        <a:bodyPr/>
        <a:lstStyle/>
        <a:p>
          <a:r>
            <a:rPr lang="en-GB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Auction Results Determination</a:t>
          </a:r>
        </a:p>
      </dgm:t>
    </dgm:pt>
    <dgm:pt modelId="{AEE171BC-0BD2-463C-836F-E2920C2A596C}" type="parTrans" cxnId="{B9BAF9B3-E54B-4155-99A6-7775EC8110F2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7030C739-B302-4233-8D3B-8DAF28D15790}" type="sibTrans" cxnId="{B9BAF9B3-E54B-4155-99A6-7775EC8110F2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2FC5248C-AC20-4C9B-94CF-7EB0D2A191EE}">
      <dgm:prSet phldrT="[Text]" phldr="0"/>
      <dgm:spPr/>
      <dgm:t>
        <a:bodyPr/>
        <a:lstStyle/>
        <a:p>
          <a:r>
            <a:rPr lang="en-GB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Maximum Payment Obligation based on </a:t>
          </a:r>
          <a:r>
            <a:rPr lang="en-GB" b="0" u="sng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Bid Prices and Price Cap</a:t>
          </a:r>
        </a:p>
      </dgm:t>
    </dgm:pt>
    <dgm:pt modelId="{F5AA088D-4E94-4AF2-B318-945BF3815187}" type="parTrans" cxnId="{1F802571-B55C-43A0-B5C4-0C83D19218F2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C26E2A21-AE10-4DD8-9E55-CCAFA7E37355}" type="sibTrans" cxnId="{1F802571-B55C-43A0-B5C4-0C83D19218F2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54B97379-D0A8-4301-99A1-4E5BD58D117C}">
      <dgm:prSet phldrT="[Text]" phldr="0"/>
      <dgm:spPr/>
      <dgm:t>
        <a:bodyPr/>
        <a:lstStyle/>
        <a:p>
          <a:r>
            <a:rPr lang="en-GB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Warning to MP based on Maximum Payment Obligation</a:t>
          </a:r>
        </a:p>
      </dgm:t>
    </dgm:pt>
    <dgm:pt modelId="{6CBDC517-68F0-455D-89B5-C23BAA0364AA}" type="parTrans" cxnId="{16D5684D-9823-419B-9203-8051A7F47AB4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D902D808-0F55-44D4-931D-A747CFF10905}" type="sibTrans" cxnId="{16D5684D-9823-419B-9203-8051A7F47AB4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4BDEEDC3-48FB-42E8-A293-082D65AA5288}">
      <dgm:prSet phldrT="[Text]" phldr="0"/>
      <dgm:spPr/>
      <dgm:t>
        <a:bodyPr/>
        <a:lstStyle/>
        <a:p>
          <a:r>
            <a:rPr lang="en-GB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Does not include all bids</a:t>
          </a:r>
        </a:p>
      </dgm:t>
    </dgm:pt>
    <dgm:pt modelId="{6D64D7F5-CDC6-4CDB-90EE-8D8113715894}" type="parTrans" cxnId="{243AB0A0-516D-449B-8FDD-C334E172E99B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616E45C9-AE02-4695-B602-CCBF32628E9A}" type="sibTrans" cxnId="{243AB0A0-516D-449B-8FDD-C334E172E99B}">
      <dgm:prSet/>
      <dgm:spPr/>
      <dgm:t>
        <a:bodyPr/>
        <a:lstStyle/>
        <a:p>
          <a:endParaRPr lang="en-GB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D641FF13-F2B3-4DA6-A3DF-E23940EEC767}" type="pres">
      <dgm:prSet presAssocID="{F16076BE-F7D4-48CB-AF20-5E675EF0FCA5}" presName="Name0" presStyleCnt="0">
        <dgm:presLayoutVars>
          <dgm:dir/>
          <dgm:animLvl val="lvl"/>
          <dgm:resizeHandles val="exact"/>
        </dgm:presLayoutVars>
      </dgm:prSet>
      <dgm:spPr/>
    </dgm:pt>
    <dgm:pt modelId="{33C14A85-463F-449A-9EE0-D4E5A0F5B918}" type="pres">
      <dgm:prSet presAssocID="{A160DB0E-E7E5-4F2C-8405-AD7B9E62599A}" presName="composite" presStyleCnt="0"/>
      <dgm:spPr/>
    </dgm:pt>
    <dgm:pt modelId="{FA776952-791B-42CF-89B4-FF3566B52148}" type="pres">
      <dgm:prSet presAssocID="{A160DB0E-E7E5-4F2C-8405-AD7B9E62599A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7A374C3F-630A-4FB0-A662-4A6FF46DFE5A}" type="pres">
      <dgm:prSet presAssocID="{A160DB0E-E7E5-4F2C-8405-AD7B9E62599A}" presName="desTx" presStyleLbl="revTx" presStyleIdx="0" presStyleCnt="3">
        <dgm:presLayoutVars>
          <dgm:bulletEnabled val="1"/>
        </dgm:presLayoutVars>
      </dgm:prSet>
      <dgm:spPr/>
    </dgm:pt>
    <dgm:pt modelId="{AA1260DC-94CB-445D-B3B2-2A07D1B2776C}" type="pres">
      <dgm:prSet presAssocID="{266ECCDE-1CB5-4B08-A769-8CAB7B4935FE}" presName="space" presStyleCnt="0"/>
      <dgm:spPr/>
    </dgm:pt>
    <dgm:pt modelId="{CA0D514D-EBA5-48BE-BF29-06DC2E5CC0CC}" type="pres">
      <dgm:prSet presAssocID="{E320F781-FC13-40DE-B32E-AF5E18973D72}" presName="composite" presStyleCnt="0"/>
      <dgm:spPr/>
    </dgm:pt>
    <dgm:pt modelId="{CE841A5D-530E-43A5-995F-7AF08890140F}" type="pres">
      <dgm:prSet presAssocID="{E320F781-FC13-40DE-B32E-AF5E18973D72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F5669255-41BE-45FC-B7AE-D346D42E8102}" type="pres">
      <dgm:prSet presAssocID="{E320F781-FC13-40DE-B32E-AF5E18973D72}" presName="desTx" presStyleLbl="revTx" presStyleIdx="1" presStyleCnt="3">
        <dgm:presLayoutVars>
          <dgm:bulletEnabled val="1"/>
        </dgm:presLayoutVars>
      </dgm:prSet>
      <dgm:spPr/>
    </dgm:pt>
    <dgm:pt modelId="{FAD3A2A3-A713-48BA-8FBC-453BEF64D087}" type="pres">
      <dgm:prSet presAssocID="{FA030C0C-1EB2-461A-B231-958F8BE38A72}" presName="space" presStyleCnt="0"/>
      <dgm:spPr/>
    </dgm:pt>
    <dgm:pt modelId="{93A85497-86A3-486A-9594-2DDF35B19C8E}" type="pres">
      <dgm:prSet presAssocID="{4DF36F70-C1F7-4333-91C4-3F875F1E30B0}" presName="composite" presStyleCnt="0"/>
      <dgm:spPr/>
    </dgm:pt>
    <dgm:pt modelId="{11A7CFDC-4D52-4554-864A-95B854FE8F64}" type="pres">
      <dgm:prSet presAssocID="{4DF36F70-C1F7-4333-91C4-3F875F1E30B0}" presName="par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721EAB83-4D73-4B94-B301-616DBF21B858}" type="pres">
      <dgm:prSet presAssocID="{4DF36F70-C1F7-4333-91C4-3F875F1E30B0}" presName="desTx" presStyleLbl="revTx" presStyleIdx="2" presStyleCnt="3">
        <dgm:presLayoutVars>
          <dgm:bulletEnabled val="1"/>
        </dgm:presLayoutVars>
      </dgm:prSet>
      <dgm:spPr/>
    </dgm:pt>
  </dgm:ptLst>
  <dgm:cxnLst>
    <dgm:cxn modelId="{C66CB002-0B08-4355-990D-15C7CA4E67C7}" srcId="{F16076BE-F7D4-48CB-AF20-5E675EF0FCA5}" destId="{E320F781-FC13-40DE-B32E-AF5E18973D72}" srcOrd="1" destOrd="0" parTransId="{B160A6A7-11DC-4526-8373-EBBCD349DA1E}" sibTransId="{FA030C0C-1EB2-461A-B231-958F8BE38A72}"/>
    <dgm:cxn modelId="{7261D41A-2DBF-4693-88C1-59029126DA57}" srcId="{F16076BE-F7D4-48CB-AF20-5E675EF0FCA5}" destId="{A160DB0E-E7E5-4F2C-8405-AD7B9E62599A}" srcOrd="0" destOrd="0" parTransId="{9AE5472D-11E6-4E70-BEC2-9DF2EC33AF76}" sibTransId="{266ECCDE-1CB5-4B08-A769-8CAB7B4935FE}"/>
    <dgm:cxn modelId="{16D5684D-9823-419B-9203-8051A7F47AB4}" srcId="{A160DB0E-E7E5-4F2C-8405-AD7B9E62599A}" destId="{54B97379-D0A8-4301-99A1-4E5BD58D117C}" srcOrd="0" destOrd="0" parTransId="{6CBDC517-68F0-455D-89B5-C23BAA0364AA}" sibTransId="{D902D808-0F55-44D4-931D-A747CFF10905}"/>
    <dgm:cxn modelId="{4795174E-7C66-453D-878B-D61B5AC7695B}" type="presOf" srcId="{E320F781-FC13-40DE-B32E-AF5E18973D72}" destId="{CE841A5D-530E-43A5-995F-7AF08890140F}" srcOrd="0" destOrd="0" presId="urn:microsoft.com/office/officeart/2005/8/layout/chevron1"/>
    <dgm:cxn modelId="{1F802571-B55C-43A0-B5C4-0C83D19218F2}" srcId="{E320F781-FC13-40DE-B32E-AF5E18973D72}" destId="{2FC5248C-AC20-4C9B-94CF-7EB0D2A191EE}" srcOrd="0" destOrd="0" parTransId="{F5AA088D-4E94-4AF2-B318-945BF3815187}" sibTransId="{C26E2A21-AE10-4DD8-9E55-CCAFA7E37355}"/>
    <dgm:cxn modelId="{8E89988C-453C-4AEB-AA3F-FED47C95B134}" type="presOf" srcId="{2FC5248C-AC20-4C9B-94CF-7EB0D2A191EE}" destId="{F5669255-41BE-45FC-B7AE-D346D42E8102}" srcOrd="0" destOrd="0" presId="urn:microsoft.com/office/officeart/2005/8/layout/chevron1"/>
    <dgm:cxn modelId="{0F760B99-9DD0-4141-ADB6-DB17EE3E5AF9}" type="presOf" srcId="{F16076BE-F7D4-48CB-AF20-5E675EF0FCA5}" destId="{D641FF13-F2B3-4DA6-A3DF-E23940EEC767}" srcOrd="0" destOrd="0" presId="urn:microsoft.com/office/officeart/2005/8/layout/chevron1"/>
    <dgm:cxn modelId="{243AB0A0-516D-449B-8FDD-C334E172E99B}" srcId="{4DF36F70-C1F7-4333-91C4-3F875F1E30B0}" destId="{4BDEEDC3-48FB-42E8-A293-082D65AA5288}" srcOrd="0" destOrd="0" parTransId="{6D64D7F5-CDC6-4CDB-90EE-8D8113715894}" sibTransId="{616E45C9-AE02-4695-B602-CCBF32628E9A}"/>
    <dgm:cxn modelId="{C977D5AB-613D-461D-AA4F-27D99E2018AF}" type="presOf" srcId="{4DF36F70-C1F7-4333-91C4-3F875F1E30B0}" destId="{11A7CFDC-4D52-4554-864A-95B854FE8F64}" srcOrd="0" destOrd="0" presId="urn:microsoft.com/office/officeart/2005/8/layout/chevron1"/>
    <dgm:cxn modelId="{6EDBFBAD-61C4-4BAC-9045-B99EFB9EA4A2}" type="presOf" srcId="{4BDEEDC3-48FB-42E8-A293-082D65AA5288}" destId="{721EAB83-4D73-4B94-B301-616DBF21B858}" srcOrd="0" destOrd="0" presId="urn:microsoft.com/office/officeart/2005/8/layout/chevron1"/>
    <dgm:cxn modelId="{B9BAF9B3-E54B-4155-99A6-7775EC8110F2}" srcId="{F16076BE-F7D4-48CB-AF20-5E675EF0FCA5}" destId="{4DF36F70-C1F7-4333-91C4-3F875F1E30B0}" srcOrd="2" destOrd="0" parTransId="{AEE171BC-0BD2-463C-836F-E2920C2A596C}" sibTransId="{7030C739-B302-4233-8D3B-8DAF28D15790}"/>
    <dgm:cxn modelId="{EDAE39CD-E93D-4709-9427-5E3C63870E36}" type="presOf" srcId="{A160DB0E-E7E5-4F2C-8405-AD7B9E62599A}" destId="{FA776952-791B-42CF-89B4-FF3566B52148}" srcOrd="0" destOrd="0" presId="urn:microsoft.com/office/officeart/2005/8/layout/chevron1"/>
    <dgm:cxn modelId="{7B143DED-5DCD-46D7-A269-1E65286617D9}" type="presOf" srcId="{54B97379-D0A8-4301-99A1-4E5BD58D117C}" destId="{7A374C3F-630A-4FB0-A662-4A6FF46DFE5A}" srcOrd="0" destOrd="0" presId="urn:microsoft.com/office/officeart/2005/8/layout/chevron1"/>
    <dgm:cxn modelId="{C6DC810A-2ACD-4206-AF29-35836779FF63}" type="presParOf" srcId="{D641FF13-F2B3-4DA6-A3DF-E23940EEC767}" destId="{33C14A85-463F-449A-9EE0-D4E5A0F5B918}" srcOrd="0" destOrd="0" presId="urn:microsoft.com/office/officeart/2005/8/layout/chevron1"/>
    <dgm:cxn modelId="{D6776691-EB82-4241-852E-5E8B7EE9F0BC}" type="presParOf" srcId="{33C14A85-463F-449A-9EE0-D4E5A0F5B918}" destId="{FA776952-791B-42CF-89B4-FF3566B52148}" srcOrd="0" destOrd="0" presId="urn:microsoft.com/office/officeart/2005/8/layout/chevron1"/>
    <dgm:cxn modelId="{A367588B-F49D-4D37-8831-D45C10A37DBA}" type="presParOf" srcId="{33C14A85-463F-449A-9EE0-D4E5A0F5B918}" destId="{7A374C3F-630A-4FB0-A662-4A6FF46DFE5A}" srcOrd="1" destOrd="0" presId="urn:microsoft.com/office/officeart/2005/8/layout/chevron1"/>
    <dgm:cxn modelId="{81F085CD-8D82-4FF8-B8C6-E7208198135E}" type="presParOf" srcId="{D641FF13-F2B3-4DA6-A3DF-E23940EEC767}" destId="{AA1260DC-94CB-445D-B3B2-2A07D1B2776C}" srcOrd="1" destOrd="0" presId="urn:microsoft.com/office/officeart/2005/8/layout/chevron1"/>
    <dgm:cxn modelId="{63AD9A6E-34CF-4934-81C6-49013A4C463C}" type="presParOf" srcId="{D641FF13-F2B3-4DA6-A3DF-E23940EEC767}" destId="{CA0D514D-EBA5-48BE-BF29-06DC2E5CC0CC}" srcOrd="2" destOrd="0" presId="urn:microsoft.com/office/officeart/2005/8/layout/chevron1"/>
    <dgm:cxn modelId="{1FBFFED8-316E-4EE8-AA4E-DC9F915CCA7E}" type="presParOf" srcId="{CA0D514D-EBA5-48BE-BF29-06DC2E5CC0CC}" destId="{CE841A5D-530E-43A5-995F-7AF08890140F}" srcOrd="0" destOrd="0" presId="urn:microsoft.com/office/officeart/2005/8/layout/chevron1"/>
    <dgm:cxn modelId="{28128175-D25D-487B-B73B-CE8A30E3BD55}" type="presParOf" srcId="{CA0D514D-EBA5-48BE-BF29-06DC2E5CC0CC}" destId="{F5669255-41BE-45FC-B7AE-D346D42E8102}" srcOrd="1" destOrd="0" presId="urn:microsoft.com/office/officeart/2005/8/layout/chevron1"/>
    <dgm:cxn modelId="{E23F79EF-D79B-4553-B26D-90156309F201}" type="presParOf" srcId="{D641FF13-F2B3-4DA6-A3DF-E23940EEC767}" destId="{FAD3A2A3-A713-48BA-8FBC-453BEF64D087}" srcOrd="3" destOrd="0" presId="urn:microsoft.com/office/officeart/2005/8/layout/chevron1"/>
    <dgm:cxn modelId="{70A13E4E-621D-4777-827A-070149B20C2C}" type="presParOf" srcId="{D641FF13-F2B3-4DA6-A3DF-E23940EEC767}" destId="{93A85497-86A3-486A-9594-2DDF35B19C8E}" srcOrd="4" destOrd="0" presId="urn:microsoft.com/office/officeart/2005/8/layout/chevron1"/>
    <dgm:cxn modelId="{89616E34-6AF4-4687-9484-242709B77F77}" type="presParOf" srcId="{93A85497-86A3-486A-9594-2DDF35B19C8E}" destId="{11A7CFDC-4D52-4554-864A-95B854FE8F64}" srcOrd="0" destOrd="0" presId="urn:microsoft.com/office/officeart/2005/8/layout/chevron1"/>
    <dgm:cxn modelId="{62EB7E29-6ABB-4DD3-909F-5B98273B2E60}" type="presParOf" srcId="{93A85497-86A3-486A-9594-2DDF35B19C8E}" destId="{721EAB83-4D73-4B94-B301-616DBF21B858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776952-791B-42CF-89B4-FF3566B52148}">
      <dsp:nvSpPr>
        <dsp:cNvPr id="0" name=""/>
        <dsp:cNvSpPr/>
      </dsp:nvSpPr>
      <dsp:spPr>
        <a:xfrm>
          <a:off x="5656" y="49283"/>
          <a:ext cx="2849562" cy="702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Bidding Period</a:t>
          </a:r>
        </a:p>
      </dsp:txBody>
      <dsp:txXfrm>
        <a:off x="356656" y="49283"/>
        <a:ext cx="2147562" cy="702000"/>
      </dsp:txXfrm>
    </dsp:sp>
    <dsp:sp modelId="{7A374C3F-630A-4FB0-A662-4A6FF46DFE5A}">
      <dsp:nvSpPr>
        <dsp:cNvPr id="0" name=""/>
        <dsp:cNvSpPr/>
      </dsp:nvSpPr>
      <dsp:spPr>
        <a:xfrm>
          <a:off x="5656" y="839033"/>
          <a:ext cx="2279649" cy="5484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Warning to MP based on Maximum Payment Obligation</a:t>
          </a:r>
        </a:p>
      </dsp:txBody>
      <dsp:txXfrm>
        <a:off x="5656" y="839033"/>
        <a:ext cx="2279649" cy="548437"/>
      </dsp:txXfrm>
    </dsp:sp>
    <dsp:sp modelId="{CE841A5D-530E-43A5-995F-7AF08890140F}">
      <dsp:nvSpPr>
        <dsp:cNvPr id="0" name=""/>
        <dsp:cNvSpPr/>
      </dsp:nvSpPr>
      <dsp:spPr>
        <a:xfrm>
          <a:off x="2639218" y="49283"/>
          <a:ext cx="2849562" cy="702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redit Limit Verification incl. Bid Rejection</a:t>
          </a:r>
        </a:p>
      </dsp:txBody>
      <dsp:txXfrm>
        <a:off x="2990218" y="49283"/>
        <a:ext cx="2147562" cy="702000"/>
      </dsp:txXfrm>
    </dsp:sp>
    <dsp:sp modelId="{F5669255-41BE-45FC-B7AE-D346D42E8102}">
      <dsp:nvSpPr>
        <dsp:cNvPr id="0" name=""/>
        <dsp:cNvSpPr/>
      </dsp:nvSpPr>
      <dsp:spPr>
        <a:xfrm>
          <a:off x="2639218" y="839033"/>
          <a:ext cx="2279649" cy="5484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Maximum Payment Obligation based on </a:t>
          </a:r>
          <a:r>
            <a:rPr lang="en-GB" sz="1300" b="0" u="sng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Bid Prices and Price Cap</a:t>
          </a:r>
        </a:p>
      </dsp:txBody>
      <dsp:txXfrm>
        <a:off x="2639218" y="839033"/>
        <a:ext cx="2279649" cy="548437"/>
      </dsp:txXfrm>
    </dsp:sp>
    <dsp:sp modelId="{11A7CFDC-4D52-4554-864A-95B854FE8F64}">
      <dsp:nvSpPr>
        <dsp:cNvPr id="0" name=""/>
        <dsp:cNvSpPr/>
      </dsp:nvSpPr>
      <dsp:spPr>
        <a:xfrm>
          <a:off x="5272781" y="49283"/>
          <a:ext cx="2849562" cy="702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Auction Results Determination</a:t>
          </a:r>
        </a:p>
      </dsp:txBody>
      <dsp:txXfrm>
        <a:off x="5623781" y="49283"/>
        <a:ext cx="2147562" cy="702000"/>
      </dsp:txXfrm>
    </dsp:sp>
    <dsp:sp modelId="{721EAB83-4D73-4B94-B301-616DBF21B858}">
      <dsp:nvSpPr>
        <dsp:cNvPr id="0" name=""/>
        <dsp:cNvSpPr/>
      </dsp:nvSpPr>
      <dsp:spPr>
        <a:xfrm>
          <a:off x="5272781" y="839033"/>
          <a:ext cx="2279649" cy="5484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Does not include all bids</a:t>
          </a:r>
        </a:p>
      </dsp:txBody>
      <dsp:txXfrm>
        <a:off x="5272781" y="839033"/>
        <a:ext cx="2279649" cy="5484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BDAC4D7-E809-3C42-8861-7253F4E2F86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05ABE4-7D4C-EB44-877F-96C2F4B465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5A7DDC-5DB1-6244-9F79-DA6A8A626651}" type="datetimeFigureOut">
              <a:rPr lang="en-GB" smtClean="0"/>
              <a:t>03/03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D3555D-255B-734E-9D75-8A5DABF465A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88CAD-A74E-4D49-B670-8C8BEAA6E9A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0514D-EA06-A748-83B4-912498E611A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2260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59A86B-9331-47F8-9CB8-30AFD1F6D4A5}" type="datetimeFigureOut">
              <a:rPr lang="de-DE" smtClean="0"/>
              <a:t>03.03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7DFC0B-81FF-47CA-B58A-4F56118074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19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7DFC0B-81FF-47CA-B58A-4F5611807459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26806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6A1FBC-FAFD-1904-8914-5F7AF5A58C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A06B94C-1621-519C-3F66-AB539D526D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099099D-9E0B-F1FF-FD1E-939108A119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547323-D327-181D-C528-2D76B7F632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7DFC0B-81FF-47CA-B58A-4F5611807459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9696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1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7.xml"/><Relationship Id="rId4" Type="http://schemas.openxmlformats.org/officeDocument/2006/relationships/image" Target="../media/image2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.xml"/><Relationship Id="rId4" Type="http://schemas.openxmlformats.org/officeDocument/2006/relationships/image" Target="../media/image26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gif"/><Relationship Id="rId13" Type="http://schemas.openxmlformats.org/officeDocument/2006/relationships/image" Target="../media/image38.jpeg"/><Relationship Id="rId18" Type="http://schemas.openxmlformats.org/officeDocument/2006/relationships/image" Target="../media/image43.svg"/><Relationship Id="rId3" Type="http://schemas.openxmlformats.org/officeDocument/2006/relationships/image" Target="../media/image28.png"/><Relationship Id="rId21" Type="http://schemas.openxmlformats.org/officeDocument/2006/relationships/image" Target="../media/image46.jpeg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image" Target="../media/image27.jpeg"/><Relationship Id="rId16" Type="http://schemas.openxmlformats.org/officeDocument/2006/relationships/image" Target="../media/image41.svg"/><Relationship Id="rId20" Type="http://schemas.openxmlformats.org/officeDocument/2006/relationships/image" Target="../media/image45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jpeg"/><Relationship Id="rId15" Type="http://schemas.openxmlformats.org/officeDocument/2006/relationships/image" Target="../media/image40.png"/><Relationship Id="rId23" Type="http://schemas.openxmlformats.org/officeDocument/2006/relationships/image" Target="../media/image48.png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4" Type="http://schemas.openxmlformats.org/officeDocument/2006/relationships/image" Target="../media/image29.jpeg"/><Relationship Id="rId9" Type="http://schemas.openxmlformats.org/officeDocument/2006/relationships/image" Target="../media/image34.png"/><Relationship Id="rId14" Type="http://schemas.openxmlformats.org/officeDocument/2006/relationships/image" Target="../media/image39.jpeg"/><Relationship Id="rId22" Type="http://schemas.openxmlformats.org/officeDocument/2006/relationships/image" Target="../media/image47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gif"/><Relationship Id="rId13" Type="http://schemas.openxmlformats.org/officeDocument/2006/relationships/image" Target="../media/image38.jpeg"/><Relationship Id="rId18" Type="http://schemas.openxmlformats.org/officeDocument/2006/relationships/image" Target="../media/image43.svg"/><Relationship Id="rId3" Type="http://schemas.openxmlformats.org/officeDocument/2006/relationships/image" Target="../media/image28.png"/><Relationship Id="rId21" Type="http://schemas.openxmlformats.org/officeDocument/2006/relationships/image" Target="../media/image46.jpeg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image" Target="../media/image27.jpeg"/><Relationship Id="rId16" Type="http://schemas.openxmlformats.org/officeDocument/2006/relationships/image" Target="../media/image41.svg"/><Relationship Id="rId20" Type="http://schemas.openxmlformats.org/officeDocument/2006/relationships/image" Target="../media/image45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jpeg"/><Relationship Id="rId15" Type="http://schemas.openxmlformats.org/officeDocument/2006/relationships/image" Target="../media/image40.png"/><Relationship Id="rId23" Type="http://schemas.openxmlformats.org/officeDocument/2006/relationships/image" Target="../media/image48.png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4" Type="http://schemas.openxmlformats.org/officeDocument/2006/relationships/image" Target="../media/image29.jpeg"/><Relationship Id="rId9" Type="http://schemas.openxmlformats.org/officeDocument/2006/relationships/image" Target="../media/image34.png"/><Relationship Id="rId14" Type="http://schemas.openxmlformats.org/officeDocument/2006/relationships/image" Target="../media/image39.jpeg"/><Relationship Id="rId22" Type="http://schemas.openxmlformats.org/officeDocument/2006/relationships/image" Target="../media/image47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1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1.xml"/><Relationship Id="rId4" Type="http://schemas.openxmlformats.org/officeDocument/2006/relationships/image" Target="../media/image25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2.xml"/><Relationship Id="rId4" Type="http://schemas.openxmlformats.org/officeDocument/2006/relationships/image" Target="../media/image26.emf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gif"/><Relationship Id="rId13" Type="http://schemas.openxmlformats.org/officeDocument/2006/relationships/image" Target="../media/image38.jpeg"/><Relationship Id="rId18" Type="http://schemas.openxmlformats.org/officeDocument/2006/relationships/image" Target="../media/image43.svg"/><Relationship Id="rId3" Type="http://schemas.openxmlformats.org/officeDocument/2006/relationships/image" Target="../media/image28.png"/><Relationship Id="rId21" Type="http://schemas.openxmlformats.org/officeDocument/2006/relationships/image" Target="../media/image46.jpeg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image" Target="../media/image27.jpeg"/><Relationship Id="rId16" Type="http://schemas.openxmlformats.org/officeDocument/2006/relationships/image" Target="../media/image41.svg"/><Relationship Id="rId20" Type="http://schemas.openxmlformats.org/officeDocument/2006/relationships/image" Target="../media/image45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jpeg"/><Relationship Id="rId15" Type="http://schemas.openxmlformats.org/officeDocument/2006/relationships/image" Target="../media/image40.png"/><Relationship Id="rId23" Type="http://schemas.openxmlformats.org/officeDocument/2006/relationships/image" Target="../media/image48.png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4" Type="http://schemas.openxmlformats.org/officeDocument/2006/relationships/image" Target="../media/image29.jpeg"/><Relationship Id="rId9" Type="http://schemas.openxmlformats.org/officeDocument/2006/relationships/image" Target="../media/image34.png"/><Relationship Id="rId14" Type="http://schemas.openxmlformats.org/officeDocument/2006/relationships/image" Target="../media/image39.jpeg"/><Relationship Id="rId22" Type="http://schemas.openxmlformats.org/officeDocument/2006/relationships/image" Target="../media/image47.png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gif"/><Relationship Id="rId13" Type="http://schemas.openxmlformats.org/officeDocument/2006/relationships/image" Target="../media/image38.jpeg"/><Relationship Id="rId18" Type="http://schemas.openxmlformats.org/officeDocument/2006/relationships/image" Target="../media/image43.svg"/><Relationship Id="rId3" Type="http://schemas.openxmlformats.org/officeDocument/2006/relationships/image" Target="../media/image28.png"/><Relationship Id="rId21" Type="http://schemas.openxmlformats.org/officeDocument/2006/relationships/image" Target="../media/image46.jpeg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image" Target="../media/image27.jpeg"/><Relationship Id="rId16" Type="http://schemas.openxmlformats.org/officeDocument/2006/relationships/image" Target="../media/image41.svg"/><Relationship Id="rId20" Type="http://schemas.openxmlformats.org/officeDocument/2006/relationships/image" Target="../media/image45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jpeg"/><Relationship Id="rId15" Type="http://schemas.openxmlformats.org/officeDocument/2006/relationships/image" Target="../media/image40.png"/><Relationship Id="rId23" Type="http://schemas.openxmlformats.org/officeDocument/2006/relationships/image" Target="../media/image48.png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4" Type="http://schemas.openxmlformats.org/officeDocument/2006/relationships/image" Target="../media/image29.jpeg"/><Relationship Id="rId9" Type="http://schemas.openxmlformats.org/officeDocument/2006/relationships/image" Target="../media/image34.png"/><Relationship Id="rId14" Type="http://schemas.openxmlformats.org/officeDocument/2006/relationships/image" Target="../media/image39.jpeg"/><Relationship Id="rId22" Type="http://schemas.openxmlformats.org/officeDocument/2006/relationships/image" Target="../media/image47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5A26A-6F60-86B3-7C23-216C626802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358C6F-BCA3-6E44-0896-45CB35B640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30918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0297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932663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57010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30720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60708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352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555230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2577884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866964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63049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3">
            <a:extLst>
              <a:ext uri="{FF2B5EF4-FFF2-40B4-BE49-F238E27FC236}">
                <a16:creationId xmlns:a16="http://schemas.microsoft.com/office/drawing/2014/main" id="{5F90F962-EC44-4B4B-88CC-6DE2AEAE4E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01" y="440669"/>
            <a:ext cx="11281639" cy="825489"/>
          </a:xfrm>
          <a:prstGeom prst="rect">
            <a:avLst/>
          </a:prstGeom>
        </p:spPr>
        <p:txBody>
          <a:bodyPr anchor="b"/>
          <a:lstStyle>
            <a:lvl1pPr>
              <a:lnSpc>
                <a:spcPts val="3200"/>
              </a:lnSpc>
              <a:defRPr sz="30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le ENTSO-E PowerPoint-</a:t>
            </a:r>
            <a:r>
              <a:rPr lang="de-DE" err="1"/>
              <a:t>Presentation</a:t>
            </a:r>
            <a:br>
              <a:rPr lang="de-DE"/>
            </a:b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expand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467AF61E-3DB1-46D3-B78F-353826D8C2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001" y="1451044"/>
            <a:ext cx="11281639" cy="4657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99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lnSpc>
                <a:spcPts val="2600"/>
              </a:lnSpc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de-DE"/>
              <a:t>Subheadline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. Change </a:t>
            </a:r>
            <a:r>
              <a:rPr lang="de-DE" err="1"/>
              <a:t>picture</a:t>
            </a:r>
            <a:r>
              <a:rPr lang="de-DE"/>
              <a:t> in View &gt; Slide Master &gt; Slide Master 1</a:t>
            </a:r>
          </a:p>
        </p:txBody>
      </p:sp>
      <p:sp>
        <p:nvSpPr>
          <p:cNvPr id="9" name="Rechteck 1">
            <a:extLst>
              <a:ext uri="{FF2B5EF4-FFF2-40B4-BE49-F238E27FC236}">
                <a16:creationId xmlns:a16="http://schemas.microsoft.com/office/drawing/2014/main" id="{035B4328-DEEE-478B-89C8-2C140DE8D96C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29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915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2344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410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495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Mission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9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48055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 ENTSO-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664636B-F6EE-43D4-9658-9D7D8F589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9656" y="2348880"/>
            <a:ext cx="6312024" cy="2104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4954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8CD757-FFC8-583B-2FDB-A4FFD52A3F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8CD757-FFC8-583B-2FDB-A4FFD52A3F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3">
            <a:extLst>
              <a:ext uri="{FF2B5EF4-FFF2-40B4-BE49-F238E27FC236}">
                <a16:creationId xmlns:a16="http://schemas.microsoft.com/office/drawing/2014/main" id="{5F90F962-EC44-4B4B-88CC-6DE2AEAE4E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01" y="440669"/>
            <a:ext cx="11281639" cy="825489"/>
          </a:xfrm>
          <a:prstGeom prst="rect">
            <a:avLst/>
          </a:prstGeom>
        </p:spPr>
        <p:txBody>
          <a:bodyPr vert="horz" anchor="b"/>
          <a:lstStyle>
            <a:lvl1pPr rtl="0">
              <a:lnSpc>
                <a:spcPts val="3200"/>
              </a:lnSpc>
              <a:defRPr sz="30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IE"/>
              <a:t>Title ENTSO-E PowerPoint-Presentation</a:t>
            </a:r>
            <a:br>
              <a:rPr lang="en-IE"/>
            </a:br>
            <a:r>
              <a:rPr lang="en-IE"/>
              <a:t>may expand over two lines, click to edit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467AF61E-3DB1-46D3-B78F-353826D8C2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001" y="1451044"/>
            <a:ext cx="11281639" cy="4657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rtl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99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lnSpc>
                <a:spcPts val="2600"/>
              </a:lnSpc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en-IE"/>
              <a:t>Subheadline, click to edit. Change picture in View &gt; Slide Master &gt; Slide Master 1</a:t>
            </a:r>
          </a:p>
        </p:txBody>
      </p:sp>
      <p:sp>
        <p:nvSpPr>
          <p:cNvPr id="9" name="Rechteck 1">
            <a:extLst>
              <a:ext uri="{FF2B5EF4-FFF2-40B4-BE49-F238E27FC236}">
                <a16:creationId xmlns:a16="http://schemas.microsoft.com/office/drawing/2014/main" id="{035B4328-DEEE-478B-89C8-2C140DE8D96C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I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748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745732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03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3">
            <a:extLst>
              <a:ext uri="{FF2B5EF4-FFF2-40B4-BE49-F238E27FC236}">
                <a16:creationId xmlns:a16="http://schemas.microsoft.com/office/drawing/2014/main" id="{909A6C70-AEE2-4209-B32F-485DE1E4E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01" y="440669"/>
            <a:ext cx="11281639" cy="825489"/>
          </a:xfrm>
          <a:prstGeom prst="rect">
            <a:avLst/>
          </a:prstGeom>
        </p:spPr>
        <p:txBody>
          <a:bodyPr anchor="b"/>
          <a:lstStyle>
            <a:lvl1pPr>
              <a:lnSpc>
                <a:spcPts val="3200"/>
              </a:lnSpc>
              <a:defRPr sz="30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le ENTSO-E PowerPoint-</a:t>
            </a:r>
            <a:r>
              <a:rPr lang="de-DE" err="1"/>
              <a:t>Presentation</a:t>
            </a:r>
            <a:br>
              <a:rPr lang="de-DE"/>
            </a:b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expand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B3677969-4994-472E-9C37-1D009FED45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001" y="1451044"/>
            <a:ext cx="11281639" cy="4657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99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lnSpc>
                <a:spcPts val="2600"/>
              </a:lnSpc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de-DE"/>
              <a:t>Subheadline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. Change </a:t>
            </a:r>
            <a:r>
              <a:rPr lang="de-DE" err="1"/>
              <a:t>picture</a:t>
            </a:r>
            <a:r>
              <a:rPr lang="de-DE"/>
              <a:t> in View &gt; Slide Master &gt; Slide Master 1</a:t>
            </a:r>
          </a:p>
        </p:txBody>
      </p:sp>
      <p:sp>
        <p:nvSpPr>
          <p:cNvPr id="9" name="Rechteck 1">
            <a:extLst>
              <a:ext uri="{FF2B5EF4-FFF2-40B4-BE49-F238E27FC236}">
                <a16:creationId xmlns:a16="http://schemas.microsoft.com/office/drawing/2014/main" id="{F262D997-C2EB-4727-BCED-56D9698BCB32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53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833129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88094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283210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2591641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56560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6079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58381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6183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1902432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2535601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3">
            <a:extLst>
              <a:ext uri="{FF2B5EF4-FFF2-40B4-BE49-F238E27FC236}">
                <a16:creationId xmlns:a16="http://schemas.microsoft.com/office/drawing/2014/main" id="{909A6C70-AEE2-4209-B32F-485DE1E4E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01" y="440669"/>
            <a:ext cx="11281639" cy="825489"/>
          </a:xfrm>
          <a:prstGeom prst="rect">
            <a:avLst/>
          </a:prstGeom>
        </p:spPr>
        <p:txBody>
          <a:bodyPr anchor="b"/>
          <a:lstStyle>
            <a:lvl1pPr>
              <a:lnSpc>
                <a:spcPts val="3200"/>
              </a:lnSpc>
              <a:defRPr sz="30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le ENTSO-E PowerPoint-</a:t>
            </a:r>
            <a:r>
              <a:rPr lang="de-DE" err="1"/>
              <a:t>Presentation</a:t>
            </a:r>
            <a:br>
              <a:rPr lang="de-DE"/>
            </a:b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expand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B3677969-4994-472E-9C37-1D009FED45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001" y="1451044"/>
            <a:ext cx="11281639" cy="4657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99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lnSpc>
                <a:spcPts val="2600"/>
              </a:lnSpc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de-DE"/>
              <a:t>Subheadline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. Change </a:t>
            </a:r>
            <a:r>
              <a:rPr lang="de-DE" err="1"/>
              <a:t>picture</a:t>
            </a:r>
            <a:r>
              <a:rPr lang="de-DE"/>
              <a:t> in View &gt; Slide Master &gt; Slide Master 1</a:t>
            </a:r>
          </a:p>
        </p:txBody>
      </p:sp>
      <p:sp>
        <p:nvSpPr>
          <p:cNvPr id="9" name="Rechteck 1">
            <a:extLst>
              <a:ext uri="{FF2B5EF4-FFF2-40B4-BE49-F238E27FC236}">
                <a16:creationId xmlns:a16="http://schemas.microsoft.com/office/drawing/2014/main" id="{F262D997-C2EB-4727-BCED-56D9698BCB32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11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43656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65524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91184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7178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487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570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5068A8D-5B56-2D71-3204-53AD7CAB9B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3068" y="404814"/>
            <a:ext cx="11083608" cy="589798"/>
          </a:xfrm>
        </p:spPr>
        <p:txBody>
          <a:bodyPr anchor="t"/>
          <a:lstStyle>
            <a:lvl1pPr algn="l">
              <a:defRPr sz="2000" b="1"/>
            </a:lvl1pPr>
          </a:lstStyle>
          <a:p>
            <a:r>
              <a:rPr lang="en-GB"/>
              <a:t>Headline</a:t>
            </a:r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4118F88-328C-A946-EA9C-A609682889C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07988" y="995363"/>
            <a:ext cx="11088688" cy="4826000"/>
          </a:xfrm>
        </p:spPr>
        <p:txBody>
          <a:bodyPr tIns="216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9C2BF5-0BFC-8FCB-C997-D0FF7333A3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ED98BD-9FE7-5144-8ABD-845F1AC469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48EF65E-0593-AC2C-748C-639CE53C721D}"/>
              </a:ext>
            </a:extLst>
          </p:cNvPr>
          <p:cNvSpPr/>
          <p:nvPr userDrawn="1"/>
        </p:nvSpPr>
        <p:spPr>
          <a:xfrm>
            <a:off x="12072939" y="3223992"/>
            <a:ext cx="119062" cy="28204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4F4661-E418-9C4B-3249-FAD4A7312F2B}"/>
              </a:ext>
            </a:extLst>
          </p:cNvPr>
          <p:cNvSpPr/>
          <p:nvPr userDrawn="1"/>
        </p:nvSpPr>
        <p:spPr>
          <a:xfrm>
            <a:off x="12072939" y="403583"/>
            <a:ext cx="119062" cy="28204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55110AA3-E47B-EB44-AE78-B139B65361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4607" y="5839884"/>
            <a:ext cx="806212" cy="80621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AE22EE8-DC0D-27F3-14E5-403FFE7C8264}"/>
              </a:ext>
            </a:extLst>
          </p:cNvPr>
          <p:cNvSpPr/>
          <p:nvPr userDrawn="1"/>
        </p:nvSpPr>
        <p:spPr>
          <a:xfrm>
            <a:off x="2380074" y="5950038"/>
            <a:ext cx="1133268" cy="601695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604861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DAC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19999" y="230493"/>
            <a:ext cx="10728000" cy="583015"/>
          </a:xfrm>
          <a:noFill/>
        </p:spPr>
        <p:txBody>
          <a:bodyPr vert="horz"/>
          <a:lstStyle>
            <a:lvl1pPr>
              <a:defRPr>
                <a:solidFill>
                  <a:srgbClr val="23BACF"/>
                </a:solidFill>
              </a:defRPr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nter</a:t>
            </a:r>
            <a:r>
              <a:rPr lang="de-DE"/>
              <a:t> title</a:t>
            </a:r>
            <a:r>
              <a:rPr lang="hu-HU"/>
              <a:t> - SDAC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nter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</p:txBody>
      </p:sp>
      <p:pic>
        <p:nvPicPr>
          <p:cNvPr id="13" name="Kép 12">
            <a:extLst>
              <a:ext uri="{FF2B5EF4-FFF2-40B4-BE49-F238E27FC236}">
                <a16:creationId xmlns:a16="http://schemas.microsoft.com/office/drawing/2014/main" id="{0AEAF6EC-748D-4C3C-B816-F46ED018D4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41700"/>
            <a:ext cx="1562986" cy="526933"/>
          </a:xfrm>
          <a:prstGeom prst="rect">
            <a:avLst/>
          </a:prstGeom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233DA4DB-024A-47C1-A545-2E05E2B04B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7765"/>
          <a:stretch/>
        </p:blipFill>
        <p:spPr>
          <a:xfrm>
            <a:off x="1460355" y="6627600"/>
            <a:ext cx="6457159" cy="233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993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42">
          <p15:clr>
            <a:srgbClr val="FBAE40"/>
          </p15:clr>
        </p15:guide>
        <p15:guide id="3" orient="horz" pos="399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FA3BC5-7826-AE4F-821A-D9B918CE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535564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FA3BC5-7826-AE4F-821A-D9B918CE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769" y="108000"/>
            <a:ext cx="8387594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44770" y="461650"/>
            <a:ext cx="10329870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3366FF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  <a:p>
            <a:pPr lvl="0">
              <a:spcBef>
                <a:spcPct val="0"/>
              </a:spcBef>
            </a:pP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36FB24C9-4EA8-1C44-B915-5E92856272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4770" y="6553201"/>
            <a:ext cx="413464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SG | 06/11/2025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7810811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832591-CD6D-9641-A9BB-75F77328DD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5239636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832591-CD6D-9641-A9BB-75F77328D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769" y="108000"/>
            <a:ext cx="8689558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44770" y="461650"/>
            <a:ext cx="10653692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3366FF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644770" y="1080000"/>
            <a:ext cx="11078308" cy="4320000"/>
          </a:xfrm>
        </p:spPr>
        <p:txBody>
          <a:bodyPr/>
          <a:lstStyle>
            <a:lvl1pPr>
              <a:defRPr b="0" i="0">
                <a:solidFill>
                  <a:srgbClr val="3366FF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163FFC53-B4C8-3948-9F3E-8E9AA98983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4770" y="6553201"/>
            <a:ext cx="413464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SG | 06/11/2025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429839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3">
            <a:extLst>
              <a:ext uri="{FF2B5EF4-FFF2-40B4-BE49-F238E27FC236}">
                <a16:creationId xmlns:a16="http://schemas.microsoft.com/office/drawing/2014/main" id="{909A6C70-AEE2-4209-B32F-485DE1E4E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01" y="440669"/>
            <a:ext cx="11281639" cy="825489"/>
          </a:xfrm>
          <a:prstGeom prst="rect">
            <a:avLst/>
          </a:prstGeom>
        </p:spPr>
        <p:txBody>
          <a:bodyPr anchor="b"/>
          <a:lstStyle>
            <a:lvl1pPr>
              <a:lnSpc>
                <a:spcPts val="3200"/>
              </a:lnSpc>
              <a:defRPr sz="30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le ENTSO-E PowerPoint-</a:t>
            </a:r>
            <a:r>
              <a:rPr lang="de-DE" err="1"/>
              <a:t>Presentation</a:t>
            </a:r>
            <a:br>
              <a:rPr lang="de-DE"/>
            </a:b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expand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B3677969-4994-472E-9C37-1D009FED45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001" y="1451044"/>
            <a:ext cx="11281639" cy="4657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99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lnSpc>
                <a:spcPts val="2600"/>
              </a:lnSpc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de-DE"/>
              <a:t>Subheadline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. Change </a:t>
            </a:r>
            <a:r>
              <a:rPr lang="de-DE" err="1"/>
              <a:t>picture</a:t>
            </a:r>
            <a:r>
              <a:rPr lang="de-DE"/>
              <a:t> in View &gt; Slide Master &gt; Slide Master 1</a:t>
            </a:r>
          </a:p>
        </p:txBody>
      </p:sp>
      <p:sp>
        <p:nvSpPr>
          <p:cNvPr id="9" name="Rechteck 1">
            <a:extLst>
              <a:ext uri="{FF2B5EF4-FFF2-40B4-BE49-F238E27FC236}">
                <a16:creationId xmlns:a16="http://schemas.microsoft.com/office/drawing/2014/main" id="{F262D997-C2EB-4727-BCED-56D9698BCB32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046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370669" y="2912663"/>
            <a:ext cx="9101929" cy="792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i="0" baseline="0" dirty="0">
                <a:solidFill>
                  <a:schemeClr val="tx2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72329" y="1792322"/>
            <a:ext cx="9101929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3000" b="0" i="0" baseline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 of the meeting</a:t>
            </a:r>
          </a:p>
        </p:txBody>
      </p:sp>
      <p:grpSp>
        <p:nvGrpSpPr>
          <p:cNvPr id="19" name="Graphic 3">
            <a:extLst>
              <a:ext uri="{FF2B5EF4-FFF2-40B4-BE49-F238E27FC236}">
                <a16:creationId xmlns:a16="http://schemas.microsoft.com/office/drawing/2014/main" id="{FAC2355F-121A-B213-37C8-874255D69819}"/>
              </a:ext>
            </a:extLst>
          </p:cNvPr>
          <p:cNvGrpSpPr>
            <a:grpSpLocks/>
          </p:cNvGrpSpPr>
          <p:nvPr userDrawn="1"/>
        </p:nvGrpSpPr>
        <p:grpSpPr>
          <a:xfrm>
            <a:off x="5914064" y="2340000"/>
            <a:ext cx="6867692" cy="4460400"/>
            <a:chOff x="66025" y="-34306"/>
            <a:chExt cx="6381750" cy="5895975"/>
          </a:xfrm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20" name="Freeform: Shape 161">
              <a:extLst>
                <a:ext uri="{FF2B5EF4-FFF2-40B4-BE49-F238E27FC236}">
                  <a16:creationId xmlns:a16="http://schemas.microsoft.com/office/drawing/2014/main" id="{46582428-4071-58AF-B1F2-44A6E7A1B273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: Shape 162">
              <a:extLst>
                <a:ext uri="{FF2B5EF4-FFF2-40B4-BE49-F238E27FC236}">
                  <a16:creationId xmlns:a16="http://schemas.microsoft.com/office/drawing/2014/main" id="{082B78A9-472E-D24A-9F02-0C1136F456B7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: Shape 163">
              <a:extLst>
                <a:ext uri="{FF2B5EF4-FFF2-40B4-BE49-F238E27FC236}">
                  <a16:creationId xmlns:a16="http://schemas.microsoft.com/office/drawing/2014/main" id="{1ECE171B-6EDD-36C3-EE3F-51A394C68B48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: Shape 164">
              <a:extLst>
                <a:ext uri="{FF2B5EF4-FFF2-40B4-BE49-F238E27FC236}">
                  <a16:creationId xmlns:a16="http://schemas.microsoft.com/office/drawing/2014/main" id="{A39A4279-D12D-5F30-1AA3-3EA1E2B1D19A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: Shape 165">
              <a:extLst>
                <a:ext uri="{FF2B5EF4-FFF2-40B4-BE49-F238E27FC236}">
                  <a16:creationId xmlns:a16="http://schemas.microsoft.com/office/drawing/2014/main" id="{4BF905ED-374D-B643-8841-9D84FE491886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: Shape 166">
              <a:extLst>
                <a:ext uri="{FF2B5EF4-FFF2-40B4-BE49-F238E27FC236}">
                  <a16:creationId xmlns:a16="http://schemas.microsoft.com/office/drawing/2014/main" id="{B25DFFEC-3B96-B30A-9F04-4E6978289F2F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0C29F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: Shape 167">
              <a:extLst>
                <a:ext uri="{FF2B5EF4-FFF2-40B4-BE49-F238E27FC236}">
                  <a16:creationId xmlns:a16="http://schemas.microsoft.com/office/drawing/2014/main" id="{C296AC1D-FEB0-DD6C-544D-A89E8DDFCE0E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0C29F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: Shape 168">
              <a:extLst>
                <a:ext uri="{FF2B5EF4-FFF2-40B4-BE49-F238E27FC236}">
                  <a16:creationId xmlns:a16="http://schemas.microsoft.com/office/drawing/2014/main" id="{9AC695D0-5C7A-3FF2-2A2D-B2CA61F369CC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: Shape 169">
              <a:extLst>
                <a:ext uri="{FF2B5EF4-FFF2-40B4-BE49-F238E27FC236}">
                  <a16:creationId xmlns:a16="http://schemas.microsoft.com/office/drawing/2014/main" id="{E1426C2C-B1F7-A0EB-C922-80E6E8E97EF0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: Shape 170">
              <a:extLst>
                <a:ext uri="{FF2B5EF4-FFF2-40B4-BE49-F238E27FC236}">
                  <a16:creationId xmlns:a16="http://schemas.microsoft.com/office/drawing/2014/main" id="{A7C4ADE6-515D-1345-8A33-6104AF6EEA69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: Shape 171">
              <a:extLst>
                <a:ext uri="{FF2B5EF4-FFF2-40B4-BE49-F238E27FC236}">
                  <a16:creationId xmlns:a16="http://schemas.microsoft.com/office/drawing/2014/main" id="{E9B38189-EBB9-0970-C08C-5F53EBCEA3A4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: Shape 172">
              <a:extLst>
                <a:ext uri="{FF2B5EF4-FFF2-40B4-BE49-F238E27FC236}">
                  <a16:creationId xmlns:a16="http://schemas.microsoft.com/office/drawing/2014/main" id="{4B1AC50D-C7B0-624E-B6EA-83963B4C8512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: Shape 173">
              <a:extLst>
                <a:ext uri="{FF2B5EF4-FFF2-40B4-BE49-F238E27FC236}">
                  <a16:creationId xmlns:a16="http://schemas.microsoft.com/office/drawing/2014/main" id="{15C7F596-7DEA-D035-9727-D15236FC93F9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: Shape 174">
              <a:extLst>
                <a:ext uri="{FF2B5EF4-FFF2-40B4-BE49-F238E27FC236}">
                  <a16:creationId xmlns:a16="http://schemas.microsoft.com/office/drawing/2014/main" id="{D01395CF-4A2D-C005-DA0E-796CFA6B1617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: Shape 175">
              <a:extLst>
                <a:ext uri="{FF2B5EF4-FFF2-40B4-BE49-F238E27FC236}">
                  <a16:creationId xmlns:a16="http://schemas.microsoft.com/office/drawing/2014/main" id="{A343443B-5585-0C6F-3BA9-A3ED70DCDC20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: Shape 176">
              <a:extLst>
                <a:ext uri="{FF2B5EF4-FFF2-40B4-BE49-F238E27FC236}">
                  <a16:creationId xmlns:a16="http://schemas.microsoft.com/office/drawing/2014/main" id="{3D6DE9B5-19EE-86A9-8C81-9E4B6BC89E05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: Shape 177">
              <a:extLst>
                <a:ext uri="{FF2B5EF4-FFF2-40B4-BE49-F238E27FC236}">
                  <a16:creationId xmlns:a16="http://schemas.microsoft.com/office/drawing/2014/main" id="{CEDB6374-78F6-9EF6-ABAB-31BAFF5BBFE7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: Shape 178">
              <a:extLst>
                <a:ext uri="{FF2B5EF4-FFF2-40B4-BE49-F238E27FC236}">
                  <a16:creationId xmlns:a16="http://schemas.microsoft.com/office/drawing/2014/main" id="{20E42C9A-C107-17D2-EBA8-1820E5758FAD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: Shape 179">
              <a:extLst>
                <a:ext uri="{FF2B5EF4-FFF2-40B4-BE49-F238E27FC236}">
                  <a16:creationId xmlns:a16="http://schemas.microsoft.com/office/drawing/2014/main" id="{CDDBC1BA-B90A-9926-E7D7-EBDB42082307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: Shape 180">
              <a:extLst>
                <a:ext uri="{FF2B5EF4-FFF2-40B4-BE49-F238E27FC236}">
                  <a16:creationId xmlns:a16="http://schemas.microsoft.com/office/drawing/2014/main" id="{E9140458-962D-02A7-9C0E-D80E071EEC51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: Shape 181">
              <a:extLst>
                <a:ext uri="{FF2B5EF4-FFF2-40B4-BE49-F238E27FC236}">
                  <a16:creationId xmlns:a16="http://schemas.microsoft.com/office/drawing/2014/main" id="{3619166C-CF2A-5810-0379-739C099506C1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: Shape 182">
              <a:extLst>
                <a:ext uri="{FF2B5EF4-FFF2-40B4-BE49-F238E27FC236}">
                  <a16:creationId xmlns:a16="http://schemas.microsoft.com/office/drawing/2014/main" id="{A7FE51AC-45FD-CD4E-2DC3-F5454E141801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: Shape 183">
              <a:extLst>
                <a:ext uri="{FF2B5EF4-FFF2-40B4-BE49-F238E27FC236}">
                  <a16:creationId xmlns:a16="http://schemas.microsoft.com/office/drawing/2014/main" id="{83234CA7-5F8E-468A-6F6F-F2AC805A6BF5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: Shape 184">
              <a:extLst>
                <a:ext uri="{FF2B5EF4-FFF2-40B4-BE49-F238E27FC236}">
                  <a16:creationId xmlns:a16="http://schemas.microsoft.com/office/drawing/2014/main" id="{5681CEF1-019D-3FA5-BB3F-A5B3382271F0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: Shape 185">
              <a:extLst>
                <a:ext uri="{FF2B5EF4-FFF2-40B4-BE49-F238E27FC236}">
                  <a16:creationId xmlns:a16="http://schemas.microsoft.com/office/drawing/2014/main" id="{F8257DDB-F6C9-698D-09D4-8087C3881035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: Shape 186">
              <a:extLst>
                <a:ext uri="{FF2B5EF4-FFF2-40B4-BE49-F238E27FC236}">
                  <a16:creationId xmlns:a16="http://schemas.microsoft.com/office/drawing/2014/main" id="{6FB14CDB-CB9C-C172-937C-7D1B4B5C381D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: Shape 187">
              <a:extLst>
                <a:ext uri="{FF2B5EF4-FFF2-40B4-BE49-F238E27FC236}">
                  <a16:creationId xmlns:a16="http://schemas.microsoft.com/office/drawing/2014/main" id="{B8A51132-2CD4-8FEB-6D93-83F1AA224723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: Shape 188">
              <a:extLst>
                <a:ext uri="{FF2B5EF4-FFF2-40B4-BE49-F238E27FC236}">
                  <a16:creationId xmlns:a16="http://schemas.microsoft.com/office/drawing/2014/main" id="{02F4A85B-D2ED-296C-1A65-3188A47C5CCC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: Shape 189">
              <a:extLst>
                <a:ext uri="{FF2B5EF4-FFF2-40B4-BE49-F238E27FC236}">
                  <a16:creationId xmlns:a16="http://schemas.microsoft.com/office/drawing/2014/main" id="{B36626DB-4484-374F-4A7E-40D5BDB3B525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: Shape 190">
              <a:extLst>
                <a:ext uri="{FF2B5EF4-FFF2-40B4-BE49-F238E27FC236}">
                  <a16:creationId xmlns:a16="http://schemas.microsoft.com/office/drawing/2014/main" id="{04E057D9-1D24-B0C4-C198-A930ED05C0F0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pattFill prst="wdUpDiag">
              <a:fgClr>
                <a:srgbClr val="0C29FF"/>
              </a:fgClr>
              <a:bgClr>
                <a:schemeClr val="bg1"/>
              </a:bgClr>
            </a:patt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: Shape 191">
              <a:extLst>
                <a:ext uri="{FF2B5EF4-FFF2-40B4-BE49-F238E27FC236}">
                  <a16:creationId xmlns:a16="http://schemas.microsoft.com/office/drawing/2014/main" id="{64515562-CF6C-8FA8-1FF5-1202FE850E52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: Shape 192">
              <a:extLst>
                <a:ext uri="{FF2B5EF4-FFF2-40B4-BE49-F238E27FC236}">
                  <a16:creationId xmlns:a16="http://schemas.microsoft.com/office/drawing/2014/main" id="{931B9DBE-B544-88E3-2673-42E3D335E9A9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: Shape 193">
              <a:extLst>
                <a:ext uri="{FF2B5EF4-FFF2-40B4-BE49-F238E27FC236}">
                  <a16:creationId xmlns:a16="http://schemas.microsoft.com/office/drawing/2014/main" id="{E2EFE8DA-A580-DBC0-9936-6F106B471FFA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: Shape 194">
              <a:extLst>
                <a:ext uri="{FF2B5EF4-FFF2-40B4-BE49-F238E27FC236}">
                  <a16:creationId xmlns:a16="http://schemas.microsoft.com/office/drawing/2014/main" id="{C7E7CC24-458C-349D-9EA7-4B1C392D63FE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: Shape 195">
              <a:extLst>
                <a:ext uri="{FF2B5EF4-FFF2-40B4-BE49-F238E27FC236}">
                  <a16:creationId xmlns:a16="http://schemas.microsoft.com/office/drawing/2014/main" id="{E7FA50C4-B853-D0DB-ACFE-B10A093CE0AD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: Shape 196">
              <a:extLst>
                <a:ext uri="{FF2B5EF4-FFF2-40B4-BE49-F238E27FC236}">
                  <a16:creationId xmlns:a16="http://schemas.microsoft.com/office/drawing/2014/main" id="{AA178638-B433-E954-7FC6-841EE8B8B847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: Shape 197">
              <a:extLst>
                <a:ext uri="{FF2B5EF4-FFF2-40B4-BE49-F238E27FC236}">
                  <a16:creationId xmlns:a16="http://schemas.microsoft.com/office/drawing/2014/main" id="{E0E198FF-0B65-F8E1-2971-3CAD4F8E064E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: Shape 198">
              <a:extLst>
                <a:ext uri="{FF2B5EF4-FFF2-40B4-BE49-F238E27FC236}">
                  <a16:creationId xmlns:a16="http://schemas.microsoft.com/office/drawing/2014/main" id="{32F6C6F8-B83B-C15B-7D47-9BEFBA36F84A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: Shape 199">
              <a:extLst>
                <a:ext uri="{FF2B5EF4-FFF2-40B4-BE49-F238E27FC236}">
                  <a16:creationId xmlns:a16="http://schemas.microsoft.com/office/drawing/2014/main" id="{CD27FF36-28D7-313F-0608-01CB82B35D5D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: Shape 200">
              <a:extLst>
                <a:ext uri="{FF2B5EF4-FFF2-40B4-BE49-F238E27FC236}">
                  <a16:creationId xmlns:a16="http://schemas.microsoft.com/office/drawing/2014/main" id="{06B2BC51-A439-EC27-0BFB-5668D73412A3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: Shape 201">
              <a:extLst>
                <a:ext uri="{FF2B5EF4-FFF2-40B4-BE49-F238E27FC236}">
                  <a16:creationId xmlns:a16="http://schemas.microsoft.com/office/drawing/2014/main" id="{1BB637E3-0DBE-BB21-48EC-2FE1DC1B0051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: Shape 202">
              <a:extLst>
                <a:ext uri="{FF2B5EF4-FFF2-40B4-BE49-F238E27FC236}">
                  <a16:creationId xmlns:a16="http://schemas.microsoft.com/office/drawing/2014/main" id="{90B227CE-8F44-EAA5-14CF-A5F5D645B978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: Shape 203">
              <a:extLst>
                <a:ext uri="{FF2B5EF4-FFF2-40B4-BE49-F238E27FC236}">
                  <a16:creationId xmlns:a16="http://schemas.microsoft.com/office/drawing/2014/main" id="{41B7B7EA-2745-E698-FBD3-C832842F2CCD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: Shape 204">
              <a:extLst>
                <a:ext uri="{FF2B5EF4-FFF2-40B4-BE49-F238E27FC236}">
                  <a16:creationId xmlns:a16="http://schemas.microsoft.com/office/drawing/2014/main" id="{A2A50365-1078-8942-E6F0-1461EF3F8928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: Shape 205">
              <a:extLst>
                <a:ext uri="{FF2B5EF4-FFF2-40B4-BE49-F238E27FC236}">
                  <a16:creationId xmlns:a16="http://schemas.microsoft.com/office/drawing/2014/main" id="{F74EEDDC-6E4B-B1C2-D4D7-F5123027E4EA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: Shape 206">
              <a:extLst>
                <a:ext uri="{FF2B5EF4-FFF2-40B4-BE49-F238E27FC236}">
                  <a16:creationId xmlns:a16="http://schemas.microsoft.com/office/drawing/2014/main" id="{1A635398-0BDA-BD37-4268-C4C525104333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: Shape 207">
              <a:extLst>
                <a:ext uri="{FF2B5EF4-FFF2-40B4-BE49-F238E27FC236}">
                  <a16:creationId xmlns:a16="http://schemas.microsoft.com/office/drawing/2014/main" id="{66827A98-B541-6931-8FE0-4E00F23A38F2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Freeform: Shape 208">
              <a:extLst>
                <a:ext uri="{FF2B5EF4-FFF2-40B4-BE49-F238E27FC236}">
                  <a16:creationId xmlns:a16="http://schemas.microsoft.com/office/drawing/2014/main" id="{1FCC5F5C-3A43-6DFD-557D-FEB1E3D685E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Freeform: Shape 209">
              <a:extLst>
                <a:ext uri="{FF2B5EF4-FFF2-40B4-BE49-F238E27FC236}">
                  <a16:creationId xmlns:a16="http://schemas.microsoft.com/office/drawing/2014/main" id="{A5513C28-3C76-89E9-5D2C-4A923534619A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: Shape 210">
              <a:extLst>
                <a:ext uri="{FF2B5EF4-FFF2-40B4-BE49-F238E27FC236}">
                  <a16:creationId xmlns:a16="http://schemas.microsoft.com/office/drawing/2014/main" id="{7ADE0FCB-A62E-1C71-2B2B-1B4D120E91D7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: Shape 211">
              <a:extLst>
                <a:ext uri="{FF2B5EF4-FFF2-40B4-BE49-F238E27FC236}">
                  <a16:creationId xmlns:a16="http://schemas.microsoft.com/office/drawing/2014/main" id="{351030E1-B5B9-DF8D-6D7D-FF99710A44FB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EC377B00-0AF7-B71C-FE7A-7668B8FA81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084" y="4908320"/>
            <a:ext cx="1002752" cy="30596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A8719E4-0331-26D0-F9FF-DA668F414E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559" y="4910476"/>
            <a:ext cx="816258" cy="5296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D74A333-8FE5-6D40-98FD-9C6051FE79A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356035" y="1722461"/>
            <a:ext cx="824853" cy="32274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251EE68-3A44-F533-DFEF-9CB635BB161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9259" y="2852396"/>
            <a:ext cx="798402" cy="325052"/>
          </a:xfrm>
          <a:prstGeom prst="rect">
            <a:avLst/>
          </a:prstGeom>
        </p:spPr>
      </p:pic>
      <p:pic>
        <p:nvPicPr>
          <p:cNvPr id="11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94437922-CC9B-CDE9-E30E-41CD22D047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312" y="5533824"/>
            <a:ext cx="1026752" cy="16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7FACEF-D0EB-A833-2447-40C59AEE7B9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35726" y="1383803"/>
            <a:ext cx="745925" cy="37947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09F7DC9-19CD-C8EA-06B2-C6A13D79BF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420375" y="1999852"/>
            <a:ext cx="776629" cy="2539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9E03547-6A10-BB31-5C54-A2D000809C4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38" y="4451553"/>
            <a:ext cx="729644" cy="196596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8D35BA22-2156-70B4-9B55-AD78DAA92EA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68651" y="5997916"/>
            <a:ext cx="780049" cy="396119"/>
          </a:xfrm>
          <a:prstGeom prst="rect">
            <a:avLst/>
          </a:prstGeom>
        </p:spPr>
      </p:pic>
      <p:pic>
        <p:nvPicPr>
          <p:cNvPr id="144" name="Picture 143">
            <a:extLst>
              <a:ext uri="{FF2B5EF4-FFF2-40B4-BE49-F238E27FC236}">
                <a16:creationId xmlns:a16="http://schemas.microsoft.com/office/drawing/2014/main" id="{E273ED0B-00F4-2898-35F6-49F2B0BEF66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4902" y="2506805"/>
            <a:ext cx="487572" cy="366468"/>
          </a:xfrm>
          <a:prstGeom prst="rect">
            <a:avLst/>
          </a:prstGeom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92E0ED8B-8FF8-6230-E50F-B449525E15B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26088" y="3390025"/>
            <a:ext cx="884747" cy="345045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261977AB-89D4-A8E4-92F3-F2B79986731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99341" y="2266346"/>
            <a:ext cx="938241" cy="358625"/>
          </a:xfrm>
          <a:prstGeom prst="rect">
            <a:avLst/>
          </a:prstGeom>
        </p:spPr>
      </p:pic>
      <p:pic>
        <p:nvPicPr>
          <p:cNvPr id="147" name="Picture 146">
            <a:extLst>
              <a:ext uri="{FF2B5EF4-FFF2-40B4-BE49-F238E27FC236}">
                <a16:creationId xmlns:a16="http://schemas.microsoft.com/office/drawing/2014/main" id="{81706E69-384E-F1E4-257D-DAF4ED54EE3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55249" y="1282821"/>
            <a:ext cx="1026422" cy="305962"/>
          </a:xfrm>
          <a:prstGeom prst="rect">
            <a:avLst/>
          </a:prstGeom>
        </p:spPr>
      </p:pic>
      <p:pic>
        <p:nvPicPr>
          <p:cNvPr id="148" name="Graphic 147">
            <a:extLst>
              <a:ext uri="{FF2B5EF4-FFF2-40B4-BE49-F238E27FC236}">
                <a16:creationId xmlns:a16="http://schemas.microsoft.com/office/drawing/2014/main" id="{2D6F75C4-BD15-BDC6-7ABD-8879FEAB523A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304534" y="4645724"/>
            <a:ext cx="1008311" cy="155658"/>
          </a:xfrm>
          <a:prstGeom prst="rect">
            <a:avLst/>
          </a:prstGeom>
        </p:spPr>
      </p:pic>
      <p:pic>
        <p:nvPicPr>
          <p:cNvPr id="149" name="Graphic 148">
            <a:extLst>
              <a:ext uri="{FF2B5EF4-FFF2-40B4-BE49-F238E27FC236}">
                <a16:creationId xmlns:a16="http://schemas.microsoft.com/office/drawing/2014/main" id="{E2F77140-CD45-334E-0108-8A8A4B86514C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435726" y="3126292"/>
            <a:ext cx="745925" cy="233102"/>
          </a:xfrm>
          <a:prstGeom prst="rect">
            <a:avLst/>
          </a:prstGeom>
        </p:spPr>
      </p:pic>
      <p:pic>
        <p:nvPicPr>
          <p:cNvPr id="150" name="Picture 10">
            <a:extLst>
              <a:ext uri="{FF2B5EF4-FFF2-40B4-BE49-F238E27FC236}">
                <a16:creationId xmlns:a16="http://schemas.microsoft.com/office/drawing/2014/main" id="{E8A8D926-4280-28AB-A4FF-75DD22F3F2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533" y="4130838"/>
            <a:ext cx="1007561" cy="204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" name="Picture 2">
            <a:extLst>
              <a:ext uri="{FF2B5EF4-FFF2-40B4-BE49-F238E27FC236}">
                <a16:creationId xmlns:a16="http://schemas.microsoft.com/office/drawing/2014/main" id="{2A866400-154A-58AE-A25D-96D36FEEFAE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6" t="30143" r="11712" b="29907"/>
          <a:stretch/>
        </p:blipFill>
        <p:spPr bwMode="auto">
          <a:xfrm>
            <a:off x="326087" y="5590914"/>
            <a:ext cx="906538" cy="256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" name="Picture 4">
            <a:extLst>
              <a:ext uri="{FF2B5EF4-FFF2-40B4-BE49-F238E27FC236}">
                <a16:creationId xmlns:a16="http://schemas.microsoft.com/office/drawing/2014/main" id="{64F17CB6-1D92-8E21-C9F7-7A26C72EABF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1" t="38836" r="11869" b="39587"/>
          <a:stretch/>
        </p:blipFill>
        <p:spPr bwMode="auto">
          <a:xfrm>
            <a:off x="1310207" y="5948863"/>
            <a:ext cx="1064585" cy="24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154" descr="A logo with text on it&#10;&#10;Description automatically generated">
            <a:extLst>
              <a:ext uri="{FF2B5EF4-FFF2-40B4-BE49-F238E27FC236}">
                <a16:creationId xmlns:a16="http://schemas.microsoft.com/office/drawing/2014/main" id="{6349C79B-4B6F-451F-2CFA-D9AFDC268E74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287860" y="3912395"/>
            <a:ext cx="943333" cy="325052"/>
          </a:xfrm>
          <a:prstGeom prst="rect">
            <a:avLst/>
          </a:prstGeom>
        </p:spPr>
      </p:pic>
      <p:pic>
        <p:nvPicPr>
          <p:cNvPr id="157" name="Picture 6">
            <a:extLst>
              <a:ext uri="{FF2B5EF4-FFF2-40B4-BE49-F238E27FC236}">
                <a16:creationId xmlns:a16="http://schemas.microsoft.com/office/drawing/2014/main" id="{D0CA6FAE-700C-F8FE-EFA5-D3CB059281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271" y="3578830"/>
            <a:ext cx="812368" cy="345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70698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72329" y="1792800"/>
            <a:ext cx="9101929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3000" b="0" i="0" baseline="0" dirty="0">
                <a:solidFill>
                  <a:srgbClr val="3366FF"/>
                </a:solidFill>
              </a:defRPr>
            </a:lvl1pPr>
          </a:lstStyle>
          <a:p>
            <a:pPr lvl="0"/>
            <a:r>
              <a:rPr lang="en-US"/>
              <a:t>Appendix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3F0D96-B901-9067-5CC0-4469B4E078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084" y="4908320"/>
            <a:ext cx="1002752" cy="30596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EFA4618-2D0B-A063-87A8-20B31DF68E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559" y="4910476"/>
            <a:ext cx="816258" cy="5296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40FE717-FB04-CA1B-76E7-EB544514AFB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356035" y="1722461"/>
            <a:ext cx="824853" cy="3227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0F95339-B688-CB8A-76FC-45955BF0DC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9259" y="2852396"/>
            <a:ext cx="798402" cy="325052"/>
          </a:xfrm>
          <a:prstGeom prst="rect">
            <a:avLst/>
          </a:prstGeom>
        </p:spPr>
      </p:pic>
      <p:pic>
        <p:nvPicPr>
          <p:cNvPr id="12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1DC9642C-7390-5335-03F3-F1B75F8B9A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312" y="5533824"/>
            <a:ext cx="1026752" cy="16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F2E3087-0719-F2F5-AC4C-2413224624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35726" y="1383803"/>
            <a:ext cx="745925" cy="37947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B2F8A5F-30B5-2B90-673F-6F1C6A577C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420375" y="1999852"/>
            <a:ext cx="776629" cy="25393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42CD7E4-9AB1-B4F3-8960-77F24EAEA4F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38" y="4451553"/>
            <a:ext cx="729644" cy="1965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FABB3AA-C33D-3F1C-290E-93EA3C768B2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68651" y="5997916"/>
            <a:ext cx="780049" cy="39611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C52030D-4EB1-5E3B-318B-C59E75AFD7B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4902" y="2506805"/>
            <a:ext cx="487572" cy="36646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B425A32-0B49-021C-339A-A2378F24B5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26088" y="3390025"/>
            <a:ext cx="884747" cy="34504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01F40EA-6352-B78D-2276-F541FB51F764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99341" y="2266346"/>
            <a:ext cx="938241" cy="35862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5CE4645-4D4A-ED10-94A1-F5F740CF02A7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55249" y="1282821"/>
            <a:ext cx="1026422" cy="305962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FDB88E00-D954-E596-9D59-E1E2F49A6F6A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304534" y="4645724"/>
            <a:ext cx="1008311" cy="155658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B98B4869-A42A-9688-EEB9-323BD321E7CB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435726" y="3126292"/>
            <a:ext cx="745925" cy="233102"/>
          </a:xfrm>
          <a:prstGeom prst="rect">
            <a:avLst/>
          </a:prstGeom>
        </p:spPr>
      </p:pic>
      <p:pic>
        <p:nvPicPr>
          <p:cNvPr id="34" name="Picture 10">
            <a:extLst>
              <a:ext uri="{FF2B5EF4-FFF2-40B4-BE49-F238E27FC236}">
                <a16:creationId xmlns:a16="http://schemas.microsoft.com/office/drawing/2014/main" id="{440C85DA-12B4-F25F-0256-4E52002693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533" y="4130838"/>
            <a:ext cx="1007561" cy="204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>
            <a:extLst>
              <a:ext uri="{FF2B5EF4-FFF2-40B4-BE49-F238E27FC236}">
                <a16:creationId xmlns:a16="http://schemas.microsoft.com/office/drawing/2014/main" id="{41ACF098-6127-BCD6-A808-DA79536B0D0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6" t="30143" r="11712" b="29907"/>
          <a:stretch/>
        </p:blipFill>
        <p:spPr bwMode="auto">
          <a:xfrm>
            <a:off x="326087" y="5590914"/>
            <a:ext cx="906538" cy="256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>
            <a:extLst>
              <a:ext uri="{FF2B5EF4-FFF2-40B4-BE49-F238E27FC236}">
                <a16:creationId xmlns:a16="http://schemas.microsoft.com/office/drawing/2014/main" id="{505970A1-BF78-2509-8349-E2ED4EA3900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1" t="38836" r="11869" b="39587"/>
          <a:stretch/>
        </p:blipFill>
        <p:spPr bwMode="auto">
          <a:xfrm>
            <a:off x="1310207" y="5948863"/>
            <a:ext cx="1064585" cy="24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 descr="A logo with text on it&#10;&#10;Description automatically generated">
            <a:extLst>
              <a:ext uri="{FF2B5EF4-FFF2-40B4-BE49-F238E27FC236}">
                <a16:creationId xmlns:a16="http://schemas.microsoft.com/office/drawing/2014/main" id="{2F4DF049-248A-4DB3-6DC0-5BF6836DDD41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287860" y="3912395"/>
            <a:ext cx="943333" cy="325052"/>
          </a:xfrm>
          <a:prstGeom prst="rect">
            <a:avLst/>
          </a:prstGeom>
        </p:spPr>
      </p:pic>
      <p:pic>
        <p:nvPicPr>
          <p:cNvPr id="41" name="Picture 6">
            <a:extLst>
              <a:ext uri="{FF2B5EF4-FFF2-40B4-BE49-F238E27FC236}">
                <a16:creationId xmlns:a16="http://schemas.microsoft.com/office/drawing/2014/main" id="{DDDD3E0F-0D19-ED10-C477-1F69050245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271" y="3578830"/>
            <a:ext cx="812368" cy="345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68626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910224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938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25250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750487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774745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4097531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51387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56915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2632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59041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5056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3004459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2138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845712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00510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98819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1796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514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226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199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FA3BC5-7826-AE4F-821A-D9B918CE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535564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FA3BC5-7826-AE4F-821A-D9B918CE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769" y="108000"/>
            <a:ext cx="8387594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44770" y="461650"/>
            <a:ext cx="10329870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3366FF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  <a:p>
            <a:pPr lvl="0">
              <a:spcBef>
                <a:spcPct val="0"/>
              </a:spcBef>
            </a:pP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36FB24C9-4EA8-1C44-B915-5E92856272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4770" y="6553201"/>
            <a:ext cx="413464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SG | 06/11/2025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7307530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832591-CD6D-9641-A9BB-75F77328DD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5239636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832591-CD6D-9641-A9BB-75F77328D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769" y="108000"/>
            <a:ext cx="8689558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44770" y="461650"/>
            <a:ext cx="10653692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3366FF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644770" y="1080000"/>
            <a:ext cx="11078308" cy="4320000"/>
          </a:xfrm>
        </p:spPr>
        <p:txBody>
          <a:bodyPr/>
          <a:lstStyle>
            <a:lvl1pPr>
              <a:defRPr b="0" i="0">
                <a:solidFill>
                  <a:srgbClr val="3366FF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163FFC53-B4C8-3948-9F3E-8E9AA98983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4770" y="6553201"/>
            <a:ext cx="413464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SG | 06/11/2025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7206192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370669" y="2912663"/>
            <a:ext cx="9101929" cy="792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i="0" baseline="0" dirty="0">
                <a:solidFill>
                  <a:schemeClr val="tx2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72329" y="1792322"/>
            <a:ext cx="9101929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3000" b="0" i="0" baseline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 of the meeting</a:t>
            </a:r>
          </a:p>
        </p:txBody>
      </p:sp>
      <p:grpSp>
        <p:nvGrpSpPr>
          <p:cNvPr id="19" name="Graphic 3">
            <a:extLst>
              <a:ext uri="{FF2B5EF4-FFF2-40B4-BE49-F238E27FC236}">
                <a16:creationId xmlns:a16="http://schemas.microsoft.com/office/drawing/2014/main" id="{FAC2355F-121A-B213-37C8-874255D69819}"/>
              </a:ext>
            </a:extLst>
          </p:cNvPr>
          <p:cNvGrpSpPr>
            <a:grpSpLocks/>
          </p:cNvGrpSpPr>
          <p:nvPr userDrawn="1"/>
        </p:nvGrpSpPr>
        <p:grpSpPr>
          <a:xfrm>
            <a:off x="5914064" y="2340000"/>
            <a:ext cx="6867692" cy="4460400"/>
            <a:chOff x="66025" y="-34306"/>
            <a:chExt cx="6381750" cy="5895975"/>
          </a:xfrm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20" name="Freeform: Shape 161">
              <a:extLst>
                <a:ext uri="{FF2B5EF4-FFF2-40B4-BE49-F238E27FC236}">
                  <a16:creationId xmlns:a16="http://schemas.microsoft.com/office/drawing/2014/main" id="{46582428-4071-58AF-B1F2-44A6E7A1B273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: Shape 162">
              <a:extLst>
                <a:ext uri="{FF2B5EF4-FFF2-40B4-BE49-F238E27FC236}">
                  <a16:creationId xmlns:a16="http://schemas.microsoft.com/office/drawing/2014/main" id="{082B78A9-472E-D24A-9F02-0C1136F456B7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: Shape 163">
              <a:extLst>
                <a:ext uri="{FF2B5EF4-FFF2-40B4-BE49-F238E27FC236}">
                  <a16:creationId xmlns:a16="http://schemas.microsoft.com/office/drawing/2014/main" id="{1ECE171B-6EDD-36C3-EE3F-51A394C68B48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: Shape 164">
              <a:extLst>
                <a:ext uri="{FF2B5EF4-FFF2-40B4-BE49-F238E27FC236}">
                  <a16:creationId xmlns:a16="http://schemas.microsoft.com/office/drawing/2014/main" id="{A39A4279-D12D-5F30-1AA3-3EA1E2B1D19A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: Shape 165">
              <a:extLst>
                <a:ext uri="{FF2B5EF4-FFF2-40B4-BE49-F238E27FC236}">
                  <a16:creationId xmlns:a16="http://schemas.microsoft.com/office/drawing/2014/main" id="{4BF905ED-374D-B643-8841-9D84FE491886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: Shape 166">
              <a:extLst>
                <a:ext uri="{FF2B5EF4-FFF2-40B4-BE49-F238E27FC236}">
                  <a16:creationId xmlns:a16="http://schemas.microsoft.com/office/drawing/2014/main" id="{B25DFFEC-3B96-B30A-9F04-4E6978289F2F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0C29F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: Shape 167">
              <a:extLst>
                <a:ext uri="{FF2B5EF4-FFF2-40B4-BE49-F238E27FC236}">
                  <a16:creationId xmlns:a16="http://schemas.microsoft.com/office/drawing/2014/main" id="{C296AC1D-FEB0-DD6C-544D-A89E8DDFCE0E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0C29F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: Shape 168">
              <a:extLst>
                <a:ext uri="{FF2B5EF4-FFF2-40B4-BE49-F238E27FC236}">
                  <a16:creationId xmlns:a16="http://schemas.microsoft.com/office/drawing/2014/main" id="{9AC695D0-5C7A-3FF2-2A2D-B2CA61F369CC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: Shape 169">
              <a:extLst>
                <a:ext uri="{FF2B5EF4-FFF2-40B4-BE49-F238E27FC236}">
                  <a16:creationId xmlns:a16="http://schemas.microsoft.com/office/drawing/2014/main" id="{E1426C2C-B1F7-A0EB-C922-80E6E8E97EF0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: Shape 170">
              <a:extLst>
                <a:ext uri="{FF2B5EF4-FFF2-40B4-BE49-F238E27FC236}">
                  <a16:creationId xmlns:a16="http://schemas.microsoft.com/office/drawing/2014/main" id="{A7C4ADE6-515D-1345-8A33-6104AF6EEA69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: Shape 171">
              <a:extLst>
                <a:ext uri="{FF2B5EF4-FFF2-40B4-BE49-F238E27FC236}">
                  <a16:creationId xmlns:a16="http://schemas.microsoft.com/office/drawing/2014/main" id="{E9B38189-EBB9-0970-C08C-5F53EBCEA3A4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: Shape 172">
              <a:extLst>
                <a:ext uri="{FF2B5EF4-FFF2-40B4-BE49-F238E27FC236}">
                  <a16:creationId xmlns:a16="http://schemas.microsoft.com/office/drawing/2014/main" id="{4B1AC50D-C7B0-624E-B6EA-83963B4C8512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: Shape 173">
              <a:extLst>
                <a:ext uri="{FF2B5EF4-FFF2-40B4-BE49-F238E27FC236}">
                  <a16:creationId xmlns:a16="http://schemas.microsoft.com/office/drawing/2014/main" id="{15C7F596-7DEA-D035-9727-D15236FC93F9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: Shape 174">
              <a:extLst>
                <a:ext uri="{FF2B5EF4-FFF2-40B4-BE49-F238E27FC236}">
                  <a16:creationId xmlns:a16="http://schemas.microsoft.com/office/drawing/2014/main" id="{D01395CF-4A2D-C005-DA0E-796CFA6B1617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: Shape 175">
              <a:extLst>
                <a:ext uri="{FF2B5EF4-FFF2-40B4-BE49-F238E27FC236}">
                  <a16:creationId xmlns:a16="http://schemas.microsoft.com/office/drawing/2014/main" id="{A343443B-5585-0C6F-3BA9-A3ED70DCDC20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: Shape 176">
              <a:extLst>
                <a:ext uri="{FF2B5EF4-FFF2-40B4-BE49-F238E27FC236}">
                  <a16:creationId xmlns:a16="http://schemas.microsoft.com/office/drawing/2014/main" id="{3D6DE9B5-19EE-86A9-8C81-9E4B6BC89E05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: Shape 177">
              <a:extLst>
                <a:ext uri="{FF2B5EF4-FFF2-40B4-BE49-F238E27FC236}">
                  <a16:creationId xmlns:a16="http://schemas.microsoft.com/office/drawing/2014/main" id="{CEDB6374-78F6-9EF6-ABAB-31BAFF5BBFE7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: Shape 178">
              <a:extLst>
                <a:ext uri="{FF2B5EF4-FFF2-40B4-BE49-F238E27FC236}">
                  <a16:creationId xmlns:a16="http://schemas.microsoft.com/office/drawing/2014/main" id="{20E42C9A-C107-17D2-EBA8-1820E5758FAD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: Shape 179">
              <a:extLst>
                <a:ext uri="{FF2B5EF4-FFF2-40B4-BE49-F238E27FC236}">
                  <a16:creationId xmlns:a16="http://schemas.microsoft.com/office/drawing/2014/main" id="{CDDBC1BA-B90A-9926-E7D7-EBDB42082307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: Shape 180">
              <a:extLst>
                <a:ext uri="{FF2B5EF4-FFF2-40B4-BE49-F238E27FC236}">
                  <a16:creationId xmlns:a16="http://schemas.microsoft.com/office/drawing/2014/main" id="{E9140458-962D-02A7-9C0E-D80E071EEC51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: Shape 181">
              <a:extLst>
                <a:ext uri="{FF2B5EF4-FFF2-40B4-BE49-F238E27FC236}">
                  <a16:creationId xmlns:a16="http://schemas.microsoft.com/office/drawing/2014/main" id="{3619166C-CF2A-5810-0379-739C099506C1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: Shape 182">
              <a:extLst>
                <a:ext uri="{FF2B5EF4-FFF2-40B4-BE49-F238E27FC236}">
                  <a16:creationId xmlns:a16="http://schemas.microsoft.com/office/drawing/2014/main" id="{A7FE51AC-45FD-CD4E-2DC3-F5454E141801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: Shape 183">
              <a:extLst>
                <a:ext uri="{FF2B5EF4-FFF2-40B4-BE49-F238E27FC236}">
                  <a16:creationId xmlns:a16="http://schemas.microsoft.com/office/drawing/2014/main" id="{83234CA7-5F8E-468A-6F6F-F2AC805A6BF5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: Shape 184">
              <a:extLst>
                <a:ext uri="{FF2B5EF4-FFF2-40B4-BE49-F238E27FC236}">
                  <a16:creationId xmlns:a16="http://schemas.microsoft.com/office/drawing/2014/main" id="{5681CEF1-019D-3FA5-BB3F-A5B3382271F0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: Shape 185">
              <a:extLst>
                <a:ext uri="{FF2B5EF4-FFF2-40B4-BE49-F238E27FC236}">
                  <a16:creationId xmlns:a16="http://schemas.microsoft.com/office/drawing/2014/main" id="{F8257DDB-F6C9-698D-09D4-8087C3881035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: Shape 186">
              <a:extLst>
                <a:ext uri="{FF2B5EF4-FFF2-40B4-BE49-F238E27FC236}">
                  <a16:creationId xmlns:a16="http://schemas.microsoft.com/office/drawing/2014/main" id="{6FB14CDB-CB9C-C172-937C-7D1B4B5C381D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: Shape 187">
              <a:extLst>
                <a:ext uri="{FF2B5EF4-FFF2-40B4-BE49-F238E27FC236}">
                  <a16:creationId xmlns:a16="http://schemas.microsoft.com/office/drawing/2014/main" id="{B8A51132-2CD4-8FEB-6D93-83F1AA224723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: Shape 188">
              <a:extLst>
                <a:ext uri="{FF2B5EF4-FFF2-40B4-BE49-F238E27FC236}">
                  <a16:creationId xmlns:a16="http://schemas.microsoft.com/office/drawing/2014/main" id="{02F4A85B-D2ED-296C-1A65-3188A47C5CCC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: Shape 189">
              <a:extLst>
                <a:ext uri="{FF2B5EF4-FFF2-40B4-BE49-F238E27FC236}">
                  <a16:creationId xmlns:a16="http://schemas.microsoft.com/office/drawing/2014/main" id="{B36626DB-4484-374F-4A7E-40D5BDB3B525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: Shape 190">
              <a:extLst>
                <a:ext uri="{FF2B5EF4-FFF2-40B4-BE49-F238E27FC236}">
                  <a16:creationId xmlns:a16="http://schemas.microsoft.com/office/drawing/2014/main" id="{04E057D9-1D24-B0C4-C198-A930ED05C0F0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pattFill prst="wdUpDiag">
              <a:fgClr>
                <a:srgbClr val="0C29FF"/>
              </a:fgClr>
              <a:bgClr>
                <a:schemeClr val="bg1"/>
              </a:bgClr>
            </a:patt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: Shape 191">
              <a:extLst>
                <a:ext uri="{FF2B5EF4-FFF2-40B4-BE49-F238E27FC236}">
                  <a16:creationId xmlns:a16="http://schemas.microsoft.com/office/drawing/2014/main" id="{64515562-CF6C-8FA8-1FF5-1202FE850E52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: Shape 192">
              <a:extLst>
                <a:ext uri="{FF2B5EF4-FFF2-40B4-BE49-F238E27FC236}">
                  <a16:creationId xmlns:a16="http://schemas.microsoft.com/office/drawing/2014/main" id="{931B9DBE-B544-88E3-2673-42E3D335E9A9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: Shape 193">
              <a:extLst>
                <a:ext uri="{FF2B5EF4-FFF2-40B4-BE49-F238E27FC236}">
                  <a16:creationId xmlns:a16="http://schemas.microsoft.com/office/drawing/2014/main" id="{E2EFE8DA-A580-DBC0-9936-6F106B471FFA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: Shape 194">
              <a:extLst>
                <a:ext uri="{FF2B5EF4-FFF2-40B4-BE49-F238E27FC236}">
                  <a16:creationId xmlns:a16="http://schemas.microsoft.com/office/drawing/2014/main" id="{C7E7CC24-458C-349D-9EA7-4B1C392D63FE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: Shape 195">
              <a:extLst>
                <a:ext uri="{FF2B5EF4-FFF2-40B4-BE49-F238E27FC236}">
                  <a16:creationId xmlns:a16="http://schemas.microsoft.com/office/drawing/2014/main" id="{E7FA50C4-B853-D0DB-ACFE-B10A093CE0AD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: Shape 196">
              <a:extLst>
                <a:ext uri="{FF2B5EF4-FFF2-40B4-BE49-F238E27FC236}">
                  <a16:creationId xmlns:a16="http://schemas.microsoft.com/office/drawing/2014/main" id="{AA178638-B433-E954-7FC6-841EE8B8B847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: Shape 197">
              <a:extLst>
                <a:ext uri="{FF2B5EF4-FFF2-40B4-BE49-F238E27FC236}">
                  <a16:creationId xmlns:a16="http://schemas.microsoft.com/office/drawing/2014/main" id="{E0E198FF-0B65-F8E1-2971-3CAD4F8E064E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: Shape 198">
              <a:extLst>
                <a:ext uri="{FF2B5EF4-FFF2-40B4-BE49-F238E27FC236}">
                  <a16:creationId xmlns:a16="http://schemas.microsoft.com/office/drawing/2014/main" id="{32F6C6F8-B83B-C15B-7D47-9BEFBA36F84A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: Shape 199">
              <a:extLst>
                <a:ext uri="{FF2B5EF4-FFF2-40B4-BE49-F238E27FC236}">
                  <a16:creationId xmlns:a16="http://schemas.microsoft.com/office/drawing/2014/main" id="{CD27FF36-28D7-313F-0608-01CB82B35D5D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: Shape 200">
              <a:extLst>
                <a:ext uri="{FF2B5EF4-FFF2-40B4-BE49-F238E27FC236}">
                  <a16:creationId xmlns:a16="http://schemas.microsoft.com/office/drawing/2014/main" id="{06B2BC51-A439-EC27-0BFB-5668D73412A3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: Shape 201">
              <a:extLst>
                <a:ext uri="{FF2B5EF4-FFF2-40B4-BE49-F238E27FC236}">
                  <a16:creationId xmlns:a16="http://schemas.microsoft.com/office/drawing/2014/main" id="{1BB637E3-0DBE-BB21-48EC-2FE1DC1B0051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: Shape 202">
              <a:extLst>
                <a:ext uri="{FF2B5EF4-FFF2-40B4-BE49-F238E27FC236}">
                  <a16:creationId xmlns:a16="http://schemas.microsoft.com/office/drawing/2014/main" id="{90B227CE-8F44-EAA5-14CF-A5F5D645B978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: Shape 203">
              <a:extLst>
                <a:ext uri="{FF2B5EF4-FFF2-40B4-BE49-F238E27FC236}">
                  <a16:creationId xmlns:a16="http://schemas.microsoft.com/office/drawing/2014/main" id="{41B7B7EA-2745-E698-FBD3-C832842F2CCD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: Shape 204">
              <a:extLst>
                <a:ext uri="{FF2B5EF4-FFF2-40B4-BE49-F238E27FC236}">
                  <a16:creationId xmlns:a16="http://schemas.microsoft.com/office/drawing/2014/main" id="{A2A50365-1078-8942-E6F0-1461EF3F8928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: Shape 205">
              <a:extLst>
                <a:ext uri="{FF2B5EF4-FFF2-40B4-BE49-F238E27FC236}">
                  <a16:creationId xmlns:a16="http://schemas.microsoft.com/office/drawing/2014/main" id="{F74EEDDC-6E4B-B1C2-D4D7-F5123027E4EA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: Shape 206">
              <a:extLst>
                <a:ext uri="{FF2B5EF4-FFF2-40B4-BE49-F238E27FC236}">
                  <a16:creationId xmlns:a16="http://schemas.microsoft.com/office/drawing/2014/main" id="{1A635398-0BDA-BD37-4268-C4C525104333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: Shape 207">
              <a:extLst>
                <a:ext uri="{FF2B5EF4-FFF2-40B4-BE49-F238E27FC236}">
                  <a16:creationId xmlns:a16="http://schemas.microsoft.com/office/drawing/2014/main" id="{66827A98-B541-6931-8FE0-4E00F23A38F2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Freeform: Shape 208">
              <a:extLst>
                <a:ext uri="{FF2B5EF4-FFF2-40B4-BE49-F238E27FC236}">
                  <a16:creationId xmlns:a16="http://schemas.microsoft.com/office/drawing/2014/main" id="{1FCC5F5C-3A43-6DFD-557D-FEB1E3D685E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Freeform: Shape 209">
              <a:extLst>
                <a:ext uri="{FF2B5EF4-FFF2-40B4-BE49-F238E27FC236}">
                  <a16:creationId xmlns:a16="http://schemas.microsoft.com/office/drawing/2014/main" id="{A5513C28-3C76-89E9-5D2C-4A923534619A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: Shape 210">
              <a:extLst>
                <a:ext uri="{FF2B5EF4-FFF2-40B4-BE49-F238E27FC236}">
                  <a16:creationId xmlns:a16="http://schemas.microsoft.com/office/drawing/2014/main" id="{7ADE0FCB-A62E-1C71-2B2B-1B4D120E91D7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: Shape 211">
              <a:extLst>
                <a:ext uri="{FF2B5EF4-FFF2-40B4-BE49-F238E27FC236}">
                  <a16:creationId xmlns:a16="http://schemas.microsoft.com/office/drawing/2014/main" id="{351030E1-B5B9-DF8D-6D7D-FF99710A44FB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EC377B00-0AF7-B71C-FE7A-7668B8FA81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084" y="4908320"/>
            <a:ext cx="1002752" cy="30596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A8719E4-0331-26D0-F9FF-DA668F414E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559" y="4910476"/>
            <a:ext cx="816258" cy="5296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D74A333-8FE5-6D40-98FD-9C6051FE79A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356035" y="1722461"/>
            <a:ext cx="824853" cy="32274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251EE68-3A44-F533-DFEF-9CB635BB161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9259" y="2852396"/>
            <a:ext cx="798402" cy="325052"/>
          </a:xfrm>
          <a:prstGeom prst="rect">
            <a:avLst/>
          </a:prstGeom>
        </p:spPr>
      </p:pic>
      <p:pic>
        <p:nvPicPr>
          <p:cNvPr id="11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94437922-CC9B-CDE9-E30E-41CD22D047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312" y="5533824"/>
            <a:ext cx="1026752" cy="16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7FACEF-D0EB-A833-2447-40C59AEE7B9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35726" y="1383803"/>
            <a:ext cx="745925" cy="37947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09F7DC9-19CD-C8EA-06B2-C6A13D79BF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420375" y="1999852"/>
            <a:ext cx="776629" cy="2539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9E03547-6A10-BB31-5C54-A2D000809C4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38" y="4451553"/>
            <a:ext cx="729644" cy="196596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8D35BA22-2156-70B4-9B55-AD78DAA92EA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68651" y="5997916"/>
            <a:ext cx="780049" cy="396119"/>
          </a:xfrm>
          <a:prstGeom prst="rect">
            <a:avLst/>
          </a:prstGeom>
        </p:spPr>
      </p:pic>
      <p:pic>
        <p:nvPicPr>
          <p:cNvPr id="144" name="Picture 143">
            <a:extLst>
              <a:ext uri="{FF2B5EF4-FFF2-40B4-BE49-F238E27FC236}">
                <a16:creationId xmlns:a16="http://schemas.microsoft.com/office/drawing/2014/main" id="{E273ED0B-00F4-2898-35F6-49F2B0BEF66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4902" y="2506805"/>
            <a:ext cx="487572" cy="366468"/>
          </a:xfrm>
          <a:prstGeom prst="rect">
            <a:avLst/>
          </a:prstGeom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92E0ED8B-8FF8-6230-E50F-B449525E15B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26088" y="3390025"/>
            <a:ext cx="884747" cy="345045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261977AB-89D4-A8E4-92F3-F2B79986731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99341" y="2266346"/>
            <a:ext cx="938241" cy="358625"/>
          </a:xfrm>
          <a:prstGeom prst="rect">
            <a:avLst/>
          </a:prstGeom>
        </p:spPr>
      </p:pic>
      <p:pic>
        <p:nvPicPr>
          <p:cNvPr id="147" name="Picture 146">
            <a:extLst>
              <a:ext uri="{FF2B5EF4-FFF2-40B4-BE49-F238E27FC236}">
                <a16:creationId xmlns:a16="http://schemas.microsoft.com/office/drawing/2014/main" id="{81706E69-384E-F1E4-257D-DAF4ED54EE3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55249" y="1282821"/>
            <a:ext cx="1026422" cy="305962"/>
          </a:xfrm>
          <a:prstGeom prst="rect">
            <a:avLst/>
          </a:prstGeom>
        </p:spPr>
      </p:pic>
      <p:pic>
        <p:nvPicPr>
          <p:cNvPr id="148" name="Graphic 147">
            <a:extLst>
              <a:ext uri="{FF2B5EF4-FFF2-40B4-BE49-F238E27FC236}">
                <a16:creationId xmlns:a16="http://schemas.microsoft.com/office/drawing/2014/main" id="{2D6F75C4-BD15-BDC6-7ABD-8879FEAB523A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304534" y="4645724"/>
            <a:ext cx="1008311" cy="155658"/>
          </a:xfrm>
          <a:prstGeom prst="rect">
            <a:avLst/>
          </a:prstGeom>
        </p:spPr>
      </p:pic>
      <p:pic>
        <p:nvPicPr>
          <p:cNvPr id="149" name="Graphic 148">
            <a:extLst>
              <a:ext uri="{FF2B5EF4-FFF2-40B4-BE49-F238E27FC236}">
                <a16:creationId xmlns:a16="http://schemas.microsoft.com/office/drawing/2014/main" id="{E2F77140-CD45-334E-0108-8A8A4B86514C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435726" y="3126292"/>
            <a:ext cx="745925" cy="233102"/>
          </a:xfrm>
          <a:prstGeom prst="rect">
            <a:avLst/>
          </a:prstGeom>
        </p:spPr>
      </p:pic>
      <p:pic>
        <p:nvPicPr>
          <p:cNvPr id="150" name="Picture 10">
            <a:extLst>
              <a:ext uri="{FF2B5EF4-FFF2-40B4-BE49-F238E27FC236}">
                <a16:creationId xmlns:a16="http://schemas.microsoft.com/office/drawing/2014/main" id="{E8A8D926-4280-28AB-A4FF-75DD22F3F2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533" y="4130838"/>
            <a:ext cx="1007561" cy="204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" name="Picture 2">
            <a:extLst>
              <a:ext uri="{FF2B5EF4-FFF2-40B4-BE49-F238E27FC236}">
                <a16:creationId xmlns:a16="http://schemas.microsoft.com/office/drawing/2014/main" id="{2A866400-154A-58AE-A25D-96D36FEEFAE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6" t="30143" r="11712" b="29907"/>
          <a:stretch/>
        </p:blipFill>
        <p:spPr bwMode="auto">
          <a:xfrm>
            <a:off x="326087" y="5590914"/>
            <a:ext cx="906538" cy="256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" name="Picture 4">
            <a:extLst>
              <a:ext uri="{FF2B5EF4-FFF2-40B4-BE49-F238E27FC236}">
                <a16:creationId xmlns:a16="http://schemas.microsoft.com/office/drawing/2014/main" id="{64F17CB6-1D92-8E21-C9F7-7A26C72EABF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1" t="38836" r="11869" b="39587"/>
          <a:stretch/>
        </p:blipFill>
        <p:spPr bwMode="auto">
          <a:xfrm>
            <a:off x="1310207" y="5948863"/>
            <a:ext cx="1064585" cy="24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154" descr="A logo with text on it&#10;&#10;Description automatically generated">
            <a:extLst>
              <a:ext uri="{FF2B5EF4-FFF2-40B4-BE49-F238E27FC236}">
                <a16:creationId xmlns:a16="http://schemas.microsoft.com/office/drawing/2014/main" id="{6349C79B-4B6F-451F-2CFA-D9AFDC268E74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287860" y="3912395"/>
            <a:ext cx="943333" cy="325052"/>
          </a:xfrm>
          <a:prstGeom prst="rect">
            <a:avLst/>
          </a:prstGeom>
        </p:spPr>
      </p:pic>
      <p:pic>
        <p:nvPicPr>
          <p:cNvPr id="157" name="Picture 6">
            <a:extLst>
              <a:ext uri="{FF2B5EF4-FFF2-40B4-BE49-F238E27FC236}">
                <a16:creationId xmlns:a16="http://schemas.microsoft.com/office/drawing/2014/main" id="{D0CA6FAE-700C-F8FE-EFA5-D3CB059281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271" y="3578830"/>
            <a:ext cx="812368" cy="345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786452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72329" y="1792800"/>
            <a:ext cx="9101929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3000" b="0" i="0" baseline="0" dirty="0">
                <a:solidFill>
                  <a:srgbClr val="3366FF"/>
                </a:solidFill>
              </a:defRPr>
            </a:lvl1pPr>
          </a:lstStyle>
          <a:p>
            <a:pPr lvl="0"/>
            <a:r>
              <a:rPr lang="en-US"/>
              <a:t>Appendix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3F0D96-B901-9067-5CC0-4469B4E078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084" y="4908320"/>
            <a:ext cx="1002752" cy="30596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EFA4618-2D0B-A063-87A8-20B31DF68E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559" y="4910476"/>
            <a:ext cx="816258" cy="5296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40FE717-FB04-CA1B-76E7-EB544514AFB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356035" y="1722461"/>
            <a:ext cx="824853" cy="3227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0F95339-B688-CB8A-76FC-45955BF0DC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9259" y="2852396"/>
            <a:ext cx="798402" cy="325052"/>
          </a:xfrm>
          <a:prstGeom prst="rect">
            <a:avLst/>
          </a:prstGeom>
        </p:spPr>
      </p:pic>
      <p:pic>
        <p:nvPicPr>
          <p:cNvPr id="12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1DC9642C-7390-5335-03F3-F1B75F8B9A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312" y="5533824"/>
            <a:ext cx="1026752" cy="16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F2E3087-0719-F2F5-AC4C-2413224624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35726" y="1383803"/>
            <a:ext cx="745925" cy="37947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B2F8A5F-30B5-2B90-673F-6F1C6A577C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420375" y="1999852"/>
            <a:ext cx="776629" cy="25393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42CD7E4-9AB1-B4F3-8960-77F24EAEA4F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38" y="4451553"/>
            <a:ext cx="729644" cy="1965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FABB3AA-C33D-3F1C-290E-93EA3C768B2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68651" y="5997916"/>
            <a:ext cx="780049" cy="39611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C52030D-4EB1-5E3B-318B-C59E75AFD7B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4902" y="2506805"/>
            <a:ext cx="487572" cy="36646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B425A32-0B49-021C-339A-A2378F24B5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26088" y="3390025"/>
            <a:ext cx="884747" cy="34504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01F40EA-6352-B78D-2276-F541FB51F764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99341" y="2266346"/>
            <a:ext cx="938241" cy="35862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5CE4645-4D4A-ED10-94A1-F5F740CF02A7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55249" y="1282821"/>
            <a:ext cx="1026422" cy="305962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FDB88E00-D954-E596-9D59-E1E2F49A6F6A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304534" y="4645724"/>
            <a:ext cx="1008311" cy="155658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B98B4869-A42A-9688-EEB9-323BD321E7CB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435726" y="3126292"/>
            <a:ext cx="745925" cy="233102"/>
          </a:xfrm>
          <a:prstGeom prst="rect">
            <a:avLst/>
          </a:prstGeom>
        </p:spPr>
      </p:pic>
      <p:pic>
        <p:nvPicPr>
          <p:cNvPr id="34" name="Picture 10">
            <a:extLst>
              <a:ext uri="{FF2B5EF4-FFF2-40B4-BE49-F238E27FC236}">
                <a16:creationId xmlns:a16="http://schemas.microsoft.com/office/drawing/2014/main" id="{440C85DA-12B4-F25F-0256-4E52002693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533" y="4130838"/>
            <a:ext cx="1007561" cy="204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>
            <a:extLst>
              <a:ext uri="{FF2B5EF4-FFF2-40B4-BE49-F238E27FC236}">
                <a16:creationId xmlns:a16="http://schemas.microsoft.com/office/drawing/2014/main" id="{41ACF098-6127-BCD6-A808-DA79536B0D0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6" t="30143" r="11712" b="29907"/>
          <a:stretch/>
        </p:blipFill>
        <p:spPr bwMode="auto">
          <a:xfrm>
            <a:off x="326087" y="5590914"/>
            <a:ext cx="906538" cy="256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>
            <a:extLst>
              <a:ext uri="{FF2B5EF4-FFF2-40B4-BE49-F238E27FC236}">
                <a16:creationId xmlns:a16="http://schemas.microsoft.com/office/drawing/2014/main" id="{505970A1-BF78-2509-8349-E2ED4EA3900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1" t="38836" r="11869" b="39587"/>
          <a:stretch/>
        </p:blipFill>
        <p:spPr bwMode="auto">
          <a:xfrm>
            <a:off x="1310207" y="5948863"/>
            <a:ext cx="1064585" cy="24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 descr="A logo with text on it&#10;&#10;Description automatically generated">
            <a:extLst>
              <a:ext uri="{FF2B5EF4-FFF2-40B4-BE49-F238E27FC236}">
                <a16:creationId xmlns:a16="http://schemas.microsoft.com/office/drawing/2014/main" id="{2F4DF049-248A-4DB3-6DC0-5BF6836DDD41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287860" y="3912395"/>
            <a:ext cx="943333" cy="325052"/>
          </a:xfrm>
          <a:prstGeom prst="rect">
            <a:avLst/>
          </a:prstGeom>
        </p:spPr>
      </p:pic>
      <p:pic>
        <p:nvPicPr>
          <p:cNvPr id="41" name="Picture 6">
            <a:extLst>
              <a:ext uri="{FF2B5EF4-FFF2-40B4-BE49-F238E27FC236}">
                <a16:creationId xmlns:a16="http://schemas.microsoft.com/office/drawing/2014/main" id="{DDDD3E0F-0D19-ED10-C477-1F69050245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271" y="3578830"/>
            <a:ext cx="812368" cy="345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4448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6964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081166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7.pn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image" Target="../media/image17.emf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ags" Target="../tags/tag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slideLayout" Target="../slideLayouts/slideLayout50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ags" Target="../tags/tag6.xml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24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21" Type="http://schemas.openxmlformats.org/officeDocument/2006/relationships/oleObject" Target="../embeddings/oleObject8.bin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61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image" Target="../media/image49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slideLayout" Target="../slideLayouts/slideLayout72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tags" Target="../tags/tag10.x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73.xml"/><Relationship Id="rId9" Type="http://schemas.openxmlformats.org/officeDocument/2006/relationships/image" Target="../media/image24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16.jpe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97512" y="5733256"/>
            <a:ext cx="2027401" cy="766079"/>
          </a:xfrm>
          <a:prstGeom prst="rect">
            <a:avLst/>
          </a:prstGeom>
        </p:spPr>
      </p:pic>
      <p:sp>
        <p:nvSpPr>
          <p:cNvPr id="6" name="Rechteck 1">
            <a:extLst>
              <a:ext uri="{FF2B5EF4-FFF2-40B4-BE49-F238E27FC236}">
                <a16:creationId xmlns:a16="http://schemas.microsoft.com/office/drawing/2014/main" id="{B1DC2692-8335-D24A-B809-8AFF2AA6C00A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8" name="Titel 5">
            <a:extLst>
              <a:ext uri="{FF2B5EF4-FFF2-40B4-BE49-F238E27FC236}">
                <a16:creationId xmlns:a16="http://schemas.microsoft.com/office/drawing/2014/main" id="{9837CEFA-6A29-8644-BF25-17F468FC7D89}"/>
              </a:ext>
            </a:extLst>
          </p:cNvPr>
          <p:cNvSpPr txBox="1">
            <a:spLocks/>
          </p:cNvSpPr>
          <p:nvPr userDrawn="1"/>
        </p:nvSpPr>
        <p:spPr>
          <a:xfrm>
            <a:off x="382588" y="55225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GB"/>
              <a:t>Headline 1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B6DE3D23-75DD-B34A-BC23-521881FEF795}"/>
              </a:ext>
            </a:extLst>
          </p:cNvPr>
          <p:cNvSpPr txBox="1">
            <a:spLocks/>
          </p:cNvSpPr>
          <p:nvPr userDrawn="1"/>
        </p:nvSpPr>
        <p:spPr>
          <a:xfrm>
            <a:off x="382588" y="1029277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>
                <a:solidFill>
                  <a:srgbClr val="00947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/>
              <a:t>Click </a:t>
            </a:r>
            <a:r>
              <a:rPr lang="de-DE" b="0" err="1"/>
              <a:t>here</a:t>
            </a:r>
            <a:r>
              <a:rPr lang="de-DE" b="0"/>
              <a:t> </a:t>
            </a:r>
            <a:r>
              <a:rPr lang="de-DE" b="0" err="1"/>
              <a:t>to</a:t>
            </a:r>
            <a:r>
              <a:rPr lang="de-DE" b="0"/>
              <a:t> </a:t>
            </a:r>
            <a:r>
              <a:rPr lang="de-DE" b="0" err="1"/>
              <a:t>edit</a:t>
            </a:r>
            <a:r>
              <a:rPr lang="de-DE" b="0"/>
              <a:t> Headline 2 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C93A88BC-3900-8843-AEB8-1FDE22C70AB4}"/>
              </a:ext>
            </a:extLst>
          </p:cNvPr>
          <p:cNvSpPr txBox="1">
            <a:spLocks/>
          </p:cNvSpPr>
          <p:nvPr userDrawn="1"/>
        </p:nvSpPr>
        <p:spPr>
          <a:xfrm>
            <a:off x="384111" y="1471705"/>
            <a:ext cx="11616265" cy="3677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1649993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3000" b="1" kern="1200">
          <a:solidFill>
            <a:srgbClr val="0D218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E7A6E24-4C45-A597-F0DA-CE741161F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3106872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A6E24-4C45-A597-F0DA-CE741161F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823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B3CAF3-C762-534F-ADB5-DB2B0740A3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73814480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B3CAF3-C762-534F-ADB5-DB2B0740A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05AA23E-9F3B-4705-91CC-5E7E5423DC7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1"/>
            <a:ext cx="12192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644771" y="108000"/>
            <a:ext cx="10535446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4770" y="1080000"/>
            <a:ext cx="11078308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28CF29-3142-8B4B-BA3F-FDB831D3C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4770" y="6553201"/>
            <a:ext cx="413464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SG | 06/11/2025</a:t>
            </a:r>
            <a:endParaRPr lang="en-NL"/>
          </a:p>
        </p:txBody>
      </p:sp>
      <p:grpSp>
        <p:nvGrpSpPr>
          <p:cNvPr id="4" name="Graphic 3">
            <a:extLst>
              <a:ext uri="{FF2B5EF4-FFF2-40B4-BE49-F238E27FC236}">
                <a16:creationId xmlns:a16="http://schemas.microsoft.com/office/drawing/2014/main" id="{5D5D4427-E138-7CB8-D631-E824BA858BB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89868" y="22125"/>
            <a:ext cx="1053143" cy="790433"/>
            <a:chOff x="75454" y="-24876"/>
            <a:chExt cx="6367081" cy="5881591"/>
          </a:xfrm>
        </p:grpSpPr>
        <p:sp>
          <p:nvSpPr>
            <p:cNvPr id="9" name="Freeform: Shape 46">
              <a:extLst>
                <a:ext uri="{FF2B5EF4-FFF2-40B4-BE49-F238E27FC236}">
                  <a16:creationId xmlns:a16="http://schemas.microsoft.com/office/drawing/2014/main" id="{C232BF6E-1DDD-B7EC-8F9D-C7BD176A030B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: Shape 47">
              <a:extLst>
                <a:ext uri="{FF2B5EF4-FFF2-40B4-BE49-F238E27FC236}">
                  <a16:creationId xmlns:a16="http://schemas.microsoft.com/office/drawing/2014/main" id="{3CECFD8D-D833-1477-99E0-231B54D0F422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: Shape 48">
              <a:extLst>
                <a:ext uri="{FF2B5EF4-FFF2-40B4-BE49-F238E27FC236}">
                  <a16:creationId xmlns:a16="http://schemas.microsoft.com/office/drawing/2014/main" id="{4BCB3D49-619A-6765-CC59-046ABE612FE1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: Shape 49">
              <a:extLst>
                <a:ext uri="{FF2B5EF4-FFF2-40B4-BE49-F238E27FC236}">
                  <a16:creationId xmlns:a16="http://schemas.microsoft.com/office/drawing/2014/main" id="{B8D713A5-05BA-486E-6CED-986655E3445D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: Shape 50">
              <a:extLst>
                <a:ext uri="{FF2B5EF4-FFF2-40B4-BE49-F238E27FC236}">
                  <a16:creationId xmlns:a16="http://schemas.microsoft.com/office/drawing/2014/main" id="{2EC0098F-CDA1-28A5-948B-DED2ECBC7468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: Shape 51">
              <a:extLst>
                <a:ext uri="{FF2B5EF4-FFF2-40B4-BE49-F238E27FC236}">
                  <a16:creationId xmlns:a16="http://schemas.microsoft.com/office/drawing/2014/main" id="{2A189EF6-A9C5-D19A-10B5-960D3464E24F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0C29FF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: Shape 52">
              <a:extLst>
                <a:ext uri="{FF2B5EF4-FFF2-40B4-BE49-F238E27FC236}">
                  <a16:creationId xmlns:a16="http://schemas.microsoft.com/office/drawing/2014/main" id="{97EAE257-A73B-6854-FA30-C80667E682B0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0C29FF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: Shape 53">
              <a:extLst>
                <a:ext uri="{FF2B5EF4-FFF2-40B4-BE49-F238E27FC236}">
                  <a16:creationId xmlns:a16="http://schemas.microsoft.com/office/drawing/2014/main" id="{730E8A59-C261-2441-D3CD-1D5B9448F240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: Shape 54">
              <a:extLst>
                <a:ext uri="{FF2B5EF4-FFF2-40B4-BE49-F238E27FC236}">
                  <a16:creationId xmlns:a16="http://schemas.microsoft.com/office/drawing/2014/main" id="{DE056888-C898-D865-5027-C946EE753A21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: Shape 55">
              <a:extLst>
                <a:ext uri="{FF2B5EF4-FFF2-40B4-BE49-F238E27FC236}">
                  <a16:creationId xmlns:a16="http://schemas.microsoft.com/office/drawing/2014/main" id="{09316AD7-AB07-78EB-ACCD-7944EECA2E2D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: Shape 56">
              <a:extLst>
                <a:ext uri="{FF2B5EF4-FFF2-40B4-BE49-F238E27FC236}">
                  <a16:creationId xmlns:a16="http://schemas.microsoft.com/office/drawing/2014/main" id="{FE7D75C4-0F68-9910-8360-97875B967C67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: Shape 57">
              <a:extLst>
                <a:ext uri="{FF2B5EF4-FFF2-40B4-BE49-F238E27FC236}">
                  <a16:creationId xmlns:a16="http://schemas.microsoft.com/office/drawing/2014/main" id="{EE02F6E8-2AAD-C037-85B5-93DC2E12F193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: Shape 58">
              <a:extLst>
                <a:ext uri="{FF2B5EF4-FFF2-40B4-BE49-F238E27FC236}">
                  <a16:creationId xmlns:a16="http://schemas.microsoft.com/office/drawing/2014/main" id="{D3D77C7E-F042-DC7C-B686-5B769A81D9F4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: Shape 59">
              <a:extLst>
                <a:ext uri="{FF2B5EF4-FFF2-40B4-BE49-F238E27FC236}">
                  <a16:creationId xmlns:a16="http://schemas.microsoft.com/office/drawing/2014/main" id="{6F0EBDFD-3F08-D782-AF03-2305F33666DF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: Shape 60">
              <a:extLst>
                <a:ext uri="{FF2B5EF4-FFF2-40B4-BE49-F238E27FC236}">
                  <a16:creationId xmlns:a16="http://schemas.microsoft.com/office/drawing/2014/main" id="{26FD5FCB-A659-C66D-4A11-CBCF2BC06EBA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: Shape 61">
              <a:extLst>
                <a:ext uri="{FF2B5EF4-FFF2-40B4-BE49-F238E27FC236}">
                  <a16:creationId xmlns:a16="http://schemas.microsoft.com/office/drawing/2014/main" id="{BB2A79DE-7BFF-00A8-DA98-F3A75DD6DBA0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: Shape 62">
              <a:extLst>
                <a:ext uri="{FF2B5EF4-FFF2-40B4-BE49-F238E27FC236}">
                  <a16:creationId xmlns:a16="http://schemas.microsoft.com/office/drawing/2014/main" id="{A591211D-F84F-DAD3-449F-C9119D41CE66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: Shape 63">
              <a:extLst>
                <a:ext uri="{FF2B5EF4-FFF2-40B4-BE49-F238E27FC236}">
                  <a16:creationId xmlns:a16="http://schemas.microsoft.com/office/drawing/2014/main" id="{6E9D30F0-5EAC-5BAE-3160-96625D08690F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: Shape 64">
              <a:extLst>
                <a:ext uri="{FF2B5EF4-FFF2-40B4-BE49-F238E27FC236}">
                  <a16:creationId xmlns:a16="http://schemas.microsoft.com/office/drawing/2014/main" id="{787D069B-B9D0-A4C4-F7D6-61D8A254D748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: Shape 65">
              <a:extLst>
                <a:ext uri="{FF2B5EF4-FFF2-40B4-BE49-F238E27FC236}">
                  <a16:creationId xmlns:a16="http://schemas.microsoft.com/office/drawing/2014/main" id="{5CA145EF-9525-C8C5-AD71-F28B650310CC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: Shape 66">
              <a:extLst>
                <a:ext uri="{FF2B5EF4-FFF2-40B4-BE49-F238E27FC236}">
                  <a16:creationId xmlns:a16="http://schemas.microsoft.com/office/drawing/2014/main" id="{BC9CA31C-2E58-3367-AFB3-7A19A8182BD5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: Shape 67">
              <a:extLst>
                <a:ext uri="{FF2B5EF4-FFF2-40B4-BE49-F238E27FC236}">
                  <a16:creationId xmlns:a16="http://schemas.microsoft.com/office/drawing/2014/main" id="{EC44AA69-C6DB-7DF1-5CAF-382D55B0DFEE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: Shape 68">
              <a:extLst>
                <a:ext uri="{FF2B5EF4-FFF2-40B4-BE49-F238E27FC236}">
                  <a16:creationId xmlns:a16="http://schemas.microsoft.com/office/drawing/2014/main" id="{226834B0-FB29-3A6A-A276-856153B72832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: Shape 69">
              <a:extLst>
                <a:ext uri="{FF2B5EF4-FFF2-40B4-BE49-F238E27FC236}">
                  <a16:creationId xmlns:a16="http://schemas.microsoft.com/office/drawing/2014/main" id="{269F1DB0-3890-941A-DC41-8CA0132FC514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: Shape 70">
              <a:extLst>
                <a:ext uri="{FF2B5EF4-FFF2-40B4-BE49-F238E27FC236}">
                  <a16:creationId xmlns:a16="http://schemas.microsoft.com/office/drawing/2014/main" id="{81F0F71B-04F5-C4A7-9D2D-3B3E7586DBA7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: Shape 71">
              <a:extLst>
                <a:ext uri="{FF2B5EF4-FFF2-40B4-BE49-F238E27FC236}">
                  <a16:creationId xmlns:a16="http://schemas.microsoft.com/office/drawing/2014/main" id="{DE4697ED-4B8B-F193-9BA9-934337322137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: Shape 72">
              <a:extLst>
                <a:ext uri="{FF2B5EF4-FFF2-40B4-BE49-F238E27FC236}">
                  <a16:creationId xmlns:a16="http://schemas.microsoft.com/office/drawing/2014/main" id="{DDFA9F4A-E2E0-0B74-3334-82410E5973FC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: Shape 73">
              <a:extLst>
                <a:ext uri="{FF2B5EF4-FFF2-40B4-BE49-F238E27FC236}">
                  <a16:creationId xmlns:a16="http://schemas.microsoft.com/office/drawing/2014/main" id="{CCEE1050-4EE9-D140-06AE-57B82C1C0A3A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: Shape 74">
              <a:extLst>
                <a:ext uri="{FF2B5EF4-FFF2-40B4-BE49-F238E27FC236}">
                  <a16:creationId xmlns:a16="http://schemas.microsoft.com/office/drawing/2014/main" id="{46F28313-8E62-D112-CEDF-EB120F271AF2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: Shape 75">
              <a:extLst>
                <a:ext uri="{FF2B5EF4-FFF2-40B4-BE49-F238E27FC236}">
                  <a16:creationId xmlns:a16="http://schemas.microsoft.com/office/drawing/2014/main" id="{78470A00-0150-D6F4-879B-EB5285DB53F3}"/>
                </a:ext>
              </a:extLst>
            </p:cNvPr>
            <p:cNvSpPr/>
            <p:nvPr/>
          </p:nvSpPr>
          <p:spPr>
            <a:xfrm>
              <a:off x="2597578" y="3391266"/>
              <a:ext cx="633889" cy="428600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pattFill prst="wdUpDiag">
              <a:fgClr>
                <a:srgbClr val="0C29FF"/>
              </a:fgClr>
              <a:bgClr>
                <a:schemeClr val="bg1"/>
              </a:bgClr>
            </a:patt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: Shape 76">
              <a:extLst>
                <a:ext uri="{FF2B5EF4-FFF2-40B4-BE49-F238E27FC236}">
                  <a16:creationId xmlns:a16="http://schemas.microsoft.com/office/drawing/2014/main" id="{F9E7BE16-2081-EA66-36E7-352B6284E3A6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: Shape 77">
              <a:extLst>
                <a:ext uri="{FF2B5EF4-FFF2-40B4-BE49-F238E27FC236}">
                  <a16:creationId xmlns:a16="http://schemas.microsoft.com/office/drawing/2014/main" id="{82D4FCFE-F216-1B55-9314-F5FF35A8E72C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: Shape 80">
              <a:extLst>
                <a:ext uri="{FF2B5EF4-FFF2-40B4-BE49-F238E27FC236}">
                  <a16:creationId xmlns:a16="http://schemas.microsoft.com/office/drawing/2014/main" id="{5DEDF486-B3CD-B10C-6909-7A4CEB5721D5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: Shape 81">
              <a:extLst>
                <a:ext uri="{FF2B5EF4-FFF2-40B4-BE49-F238E27FC236}">
                  <a16:creationId xmlns:a16="http://schemas.microsoft.com/office/drawing/2014/main" id="{29197A3E-62A7-142D-B06C-AE3069484F98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: Shape 82">
              <a:extLst>
                <a:ext uri="{FF2B5EF4-FFF2-40B4-BE49-F238E27FC236}">
                  <a16:creationId xmlns:a16="http://schemas.microsoft.com/office/drawing/2014/main" id="{A7527D22-D70E-4D0A-EC94-FF007B0A71C9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: Shape 119">
              <a:extLst>
                <a:ext uri="{FF2B5EF4-FFF2-40B4-BE49-F238E27FC236}">
                  <a16:creationId xmlns:a16="http://schemas.microsoft.com/office/drawing/2014/main" id="{1B3C3AAD-0A09-660D-A07E-0891EE2705A6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: Shape 120">
              <a:extLst>
                <a:ext uri="{FF2B5EF4-FFF2-40B4-BE49-F238E27FC236}">
                  <a16:creationId xmlns:a16="http://schemas.microsoft.com/office/drawing/2014/main" id="{282A4CDA-B7B7-5A7C-BC42-1055343D9BED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: Shape 121">
              <a:extLst>
                <a:ext uri="{FF2B5EF4-FFF2-40B4-BE49-F238E27FC236}">
                  <a16:creationId xmlns:a16="http://schemas.microsoft.com/office/drawing/2014/main" id="{CACE35E0-5C3D-E62A-1C3B-205A2E96AE8F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: Shape 122">
              <a:extLst>
                <a:ext uri="{FF2B5EF4-FFF2-40B4-BE49-F238E27FC236}">
                  <a16:creationId xmlns:a16="http://schemas.microsoft.com/office/drawing/2014/main" id="{0D6F1F98-028A-50E9-FD4D-801F2ECC622D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: Shape 123">
              <a:extLst>
                <a:ext uri="{FF2B5EF4-FFF2-40B4-BE49-F238E27FC236}">
                  <a16:creationId xmlns:a16="http://schemas.microsoft.com/office/drawing/2014/main" id="{BC89EC29-1689-DACA-612F-564183D248A0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: Shape 124">
              <a:extLst>
                <a:ext uri="{FF2B5EF4-FFF2-40B4-BE49-F238E27FC236}">
                  <a16:creationId xmlns:a16="http://schemas.microsoft.com/office/drawing/2014/main" id="{C9EFB34E-C3DC-0CB7-8F48-DBD50AC8E1CD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: Shape 125">
              <a:extLst>
                <a:ext uri="{FF2B5EF4-FFF2-40B4-BE49-F238E27FC236}">
                  <a16:creationId xmlns:a16="http://schemas.microsoft.com/office/drawing/2014/main" id="{7CBA1816-5D43-F675-4982-C2102E7014AD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: Shape 126">
              <a:extLst>
                <a:ext uri="{FF2B5EF4-FFF2-40B4-BE49-F238E27FC236}">
                  <a16:creationId xmlns:a16="http://schemas.microsoft.com/office/drawing/2014/main" id="{4373A10D-AA6C-1E61-86D9-287E5497F2DD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: Shape 127">
              <a:extLst>
                <a:ext uri="{FF2B5EF4-FFF2-40B4-BE49-F238E27FC236}">
                  <a16:creationId xmlns:a16="http://schemas.microsoft.com/office/drawing/2014/main" id="{62721690-5635-0EFA-79B8-6A823E6D2C3F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: Shape 128">
              <a:extLst>
                <a:ext uri="{FF2B5EF4-FFF2-40B4-BE49-F238E27FC236}">
                  <a16:creationId xmlns:a16="http://schemas.microsoft.com/office/drawing/2014/main" id="{55F3C6C5-C471-6B80-76B0-10210716A5BE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: Shape 129">
              <a:extLst>
                <a:ext uri="{FF2B5EF4-FFF2-40B4-BE49-F238E27FC236}">
                  <a16:creationId xmlns:a16="http://schemas.microsoft.com/office/drawing/2014/main" id="{6D3E6CC3-0915-AF29-1F05-E46DB5FC9A21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: Shape 130">
              <a:extLst>
                <a:ext uri="{FF2B5EF4-FFF2-40B4-BE49-F238E27FC236}">
                  <a16:creationId xmlns:a16="http://schemas.microsoft.com/office/drawing/2014/main" id="{EBC1E6A1-416D-98F1-F52B-6657C01B3CB4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: Shape 131">
              <a:extLst>
                <a:ext uri="{FF2B5EF4-FFF2-40B4-BE49-F238E27FC236}">
                  <a16:creationId xmlns:a16="http://schemas.microsoft.com/office/drawing/2014/main" id="{6D55D8BD-8A68-B90A-6C2E-E758B3E4E2E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: Shape 132">
              <a:extLst>
                <a:ext uri="{FF2B5EF4-FFF2-40B4-BE49-F238E27FC236}">
                  <a16:creationId xmlns:a16="http://schemas.microsoft.com/office/drawing/2014/main" id="{55CDD6EE-1E72-C46A-AA2D-ACBC9B6C9EE3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: Shape 133">
              <a:extLst>
                <a:ext uri="{FF2B5EF4-FFF2-40B4-BE49-F238E27FC236}">
                  <a16:creationId xmlns:a16="http://schemas.microsoft.com/office/drawing/2014/main" id="{4BD6AC8E-7D24-5705-3287-754DD5356A7C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: Shape 134">
              <a:extLst>
                <a:ext uri="{FF2B5EF4-FFF2-40B4-BE49-F238E27FC236}">
                  <a16:creationId xmlns:a16="http://schemas.microsoft.com/office/drawing/2014/main" id="{5F46FA57-410E-FE53-D26B-817FDA4C25A9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982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</p:sldLayoutIdLst>
  <p:hf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600" b="1" i="0">
          <a:solidFill>
            <a:srgbClr val="3366FF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84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67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51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34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rgbClr val="3366FF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85750" marR="0" indent="-285750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0100FE"/>
        </a:buClr>
        <a:buSzPct val="70000"/>
        <a:buFont typeface="Wingdings" panose="05000000000000000000" pitchFamily="2" charset="2"/>
        <a:buChar char="l"/>
        <a:tabLst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546100" indent="-2667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806450" indent="-2667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50" indent="-29210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00" indent="-31115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843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127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411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8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67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51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3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18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02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1985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269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000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149">
          <p15:clr>
            <a:srgbClr val="F26B43"/>
          </p15:clr>
        </p15:guide>
        <p15:guide id="5" orient="horz" pos="4110">
          <p15:clr>
            <a:srgbClr val="F26B43"/>
          </p15:clr>
        </p15:guide>
        <p15:guide id="6" pos="33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B1163F7-72E6-F264-1411-449795B51B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269567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1163F7-72E6-F264-1411-449795B51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907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917" r:id="rId12"/>
    <p:sldLayoutId id="2147483918" r:id="rId13"/>
    <p:sldLayoutId id="2147483919" r:id="rId14"/>
    <p:sldLayoutId id="2147483920" r:id="rId15"/>
    <p:sldLayoutId id="2147483921" r:id="rId16"/>
    <p:sldLayoutId id="2147483922" r:id="rId17"/>
    <p:sldLayoutId id="2147483923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B3CAF3-C762-534F-ADB5-DB2B0740A3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3922271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B3CAF3-C762-534F-ADB5-DB2B0740A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05AA23E-9F3B-4705-91CC-5E7E5423DC7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1"/>
            <a:ext cx="12192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644771" y="108000"/>
            <a:ext cx="10535446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4770" y="1080000"/>
            <a:ext cx="11078308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28CF29-3142-8B4B-BA3F-FDB831D3C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4770" y="6553201"/>
            <a:ext cx="413464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SG | 06/11/2025</a:t>
            </a:r>
            <a:endParaRPr lang="en-NL"/>
          </a:p>
        </p:txBody>
      </p:sp>
      <p:grpSp>
        <p:nvGrpSpPr>
          <p:cNvPr id="4" name="Graphic 3">
            <a:extLst>
              <a:ext uri="{FF2B5EF4-FFF2-40B4-BE49-F238E27FC236}">
                <a16:creationId xmlns:a16="http://schemas.microsoft.com/office/drawing/2014/main" id="{5D5D4427-E138-7CB8-D631-E824BA858BB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89868" y="22125"/>
            <a:ext cx="1053143" cy="790433"/>
            <a:chOff x="75454" y="-24876"/>
            <a:chExt cx="6367081" cy="5881591"/>
          </a:xfrm>
        </p:grpSpPr>
        <p:sp>
          <p:nvSpPr>
            <p:cNvPr id="9" name="Freeform: Shape 46">
              <a:extLst>
                <a:ext uri="{FF2B5EF4-FFF2-40B4-BE49-F238E27FC236}">
                  <a16:creationId xmlns:a16="http://schemas.microsoft.com/office/drawing/2014/main" id="{C232BF6E-1DDD-B7EC-8F9D-C7BD176A030B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: Shape 47">
              <a:extLst>
                <a:ext uri="{FF2B5EF4-FFF2-40B4-BE49-F238E27FC236}">
                  <a16:creationId xmlns:a16="http://schemas.microsoft.com/office/drawing/2014/main" id="{3CECFD8D-D833-1477-99E0-231B54D0F422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: Shape 48">
              <a:extLst>
                <a:ext uri="{FF2B5EF4-FFF2-40B4-BE49-F238E27FC236}">
                  <a16:creationId xmlns:a16="http://schemas.microsoft.com/office/drawing/2014/main" id="{4BCB3D49-619A-6765-CC59-046ABE612FE1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: Shape 49">
              <a:extLst>
                <a:ext uri="{FF2B5EF4-FFF2-40B4-BE49-F238E27FC236}">
                  <a16:creationId xmlns:a16="http://schemas.microsoft.com/office/drawing/2014/main" id="{B8D713A5-05BA-486E-6CED-986655E3445D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: Shape 50">
              <a:extLst>
                <a:ext uri="{FF2B5EF4-FFF2-40B4-BE49-F238E27FC236}">
                  <a16:creationId xmlns:a16="http://schemas.microsoft.com/office/drawing/2014/main" id="{2EC0098F-CDA1-28A5-948B-DED2ECBC7468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: Shape 51">
              <a:extLst>
                <a:ext uri="{FF2B5EF4-FFF2-40B4-BE49-F238E27FC236}">
                  <a16:creationId xmlns:a16="http://schemas.microsoft.com/office/drawing/2014/main" id="{2A189EF6-A9C5-D19A-10B5-960D3464E24F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0C29FF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: Shape 52">
              <a:extLst>
                <a:ext uri="{FF2B5EF4-FFF2-40B4-BE49-F238E27FC236}">
                  <a16:creationId xmlns:a16="http://schemas.microsoft.com/office/drawing/2014/main" id="{97EAE257-A73B-6854-FA30-C80667E682B0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0C29FF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: Shape 53">
              <a:extLst>
                <a:ext uri="{FF2B5EF4-FFF2-40B4-BE49-F238E27FC236}">
                  <a16:creationId xmlns:a16="http://schemas.microsoft.com/office/drawing/2014/main" id="{730E8A59-C261-2441-D3CD-1D5B9448F240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: Shape 54">
              <a:extLst>
                <a:ext uri="{FF2B5EF4-FFF2-40B4-BE49-F238E27FC236}">
                  <a16:creationId xmlns:a16="http://schemas.microsoft.com/office/drawing/2014/main" id="{DE056888-C898-D865-5027-C946EE753A21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: Shape 55">
              <a:extLst>
                <a:ext uri="{FF2B5EF4-FFF2-40B4-BE49-F238E27FC236}">
                  <a16:creationId xmlns:a16="http://schemas.microsoft.com/office/drawing/2014/main" id="{09316AD7-AB07-78EB-ACCD-7944EECA2E2D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: Shape 56">
              <a:extLst>
                <a:ext uri="{FF2B5EF4-FFF2-40B4-BE49-F238E27FC236}">
                  <a16:creationId xmlns:a16="http://schemas.microsoft.com/office/drawing/2014/main" id="{FE7D75C4-0F68-9910-8360-97875B967C67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: Shape 57">
              <a:extLst>
                <a:ext uri="{FF2B5EF4-FFF2-40B4-BE49-F238E27FC236}">
                  <a16:creationId xmlns:a16="http://schemas.microsoft.com/office/drawing/2014/main" id="{EE02F6E8-2AAD-C037-85B5-93DC2E12F193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: Shape 58">
              <a:extLst>
                <a:ext uri="{FF2B5EF4-FFF2-40B4-BE49-F238E27FC236}">
                  <a16:creationId xmlns:a16="http://schemas.microsoft.com/office/drawing/2014/main" id="{D3D77C7E-F042-DC7C-B686-5B769A81D9F4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: Shape 59">
              <a:extLst>
                <a:ext uri="{FF2B5EF4-FFF2-40B4-BE49-F238E27FC236}">
                  <a16:creationId xmlns:a16="http://schemas.microsoft.com/office/drawing/2014/main" id="{6F0EBDFD-3F08-D782-AF03-2305F33666DF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: Shape 60">
              <a:extLst>
                <a:ext uri="{FF2B5EF4-FFF2-40B4-BE49-F238E27FC236}">
                  <a16:creationId xmlns:a16="http://schemas.microsoft.com/office/drawing/2014/main" id="{26FD5FCB-A659-C66D-4A11-CBCF2BC06EBA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: Shape 61">
              <a:extLst>
                <a:ext uri="{FF2B5EF4-FFF2-40B4-BE49-F238E27FC236}">
                  <a16:creationId xmlns:a16="http://schemas.microsoft.com/office/drawing/2014/main" id="{BB2A79DE-7BFF-00A8-DA98-F3A75DD6DBA0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: Shape 62">
              <a:extLst>
                <a:ext uri="{FF2B5EF4-FFF2-40B4-BE49-F238E27FC236}">
                  <a16:creationId xmlns:a16="http://schemas.microsoft.com/office/drawing/2014/main" id="{A591211D-F84F-DAD3-449F-C9119D41CE66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: Shape 63">
              <a:extLst>
                <a:ext uri="{FF2B5EF4-FFF2-40B4-BE49-F238E27FC236}">
                  <a16:creationId xmlns:a16="http://schemas.microsoft.com/office/drawing/2014/main" id="{6E9D30F0-5EAC-5BAE-3160-96625D08690F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: Shape 64">
              <a:extLst>
                <a:ext uri="{FF2B5EF4-FFF2-40B4-BE49-F238E27FC236}">
                  <a16:creationId xmlns:a16="http://schemas.microsoft.com/office/drawing/2014/main" id="{787D069B-B9D0-A4C4-F7D6-61D8A254D748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: Shape 65">
              <a:extLst>
                <a:ext uri="{FF2B5EF4-FFF2-40B4-BE49-F238E27FC236}">
                  <a16:creationId xmlns:a16="http://schemas.microsoft.com/office/drawing/2014/main" id="{5CA145EF-9525-C8C5-AD71-F28B650310CC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: Shape 66">
              <a:extLst>
                <a:ext uri="{FF2B5EF4-FFF2-40B4-BE49-F238E27FC236}">
                  <a16:creationId xmlns:a16="http://schemas.microsoft.com/office/drawing/2014/main" id="{BC9CA31C-2E58-3367-AFB3-7A19A8182BD5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: Shape 67">
              <a:extLst>
                <a:ext uri="{FF2B5EF4-FFF2-40B4-BE49-F238E27FC236}">
                  <a16:creationId xmlns:a16="http://schemas.microsoft.com/office/drawing/2014/main" id="{EC44AA69-C6DB-7DF1-5CAF-382D55B0DFEE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: Shape 68">
              <a:extLst>
                <a:ext uri="{FF2B5EF4-FFF2-40B4-BE49-F238E27FC236}">
                  <a16:creationId xmlns:a16="http://schemas.microsoft.com/office/drawing/2014/main" id="{226834B0-FB29-3A6A-A276-856153B72832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: Shape 69">
              <a:extLst>
                <a:ext uri="{FF2B5EF4-FFF2-40B4-BE49-F238E27FC236}">
                  <a16:creationId xmlns:a16="http://schemas.microsoft.com/office/drawing/2014/main" id="{269F1DB0-3890-941A-DC41-8CA0132FC514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: Shape 70">
              <a:extLst>
                <a:ext uri="{FF2B5EF4-FFF2-40B4-BE49-F238E27FC236}">
                  <a16:creationId xmlns:a16="http://schemas.microsoft.com/office/drawing/2014/main" id="{81F0F71B-04F5-C4A7-9D2D-3B3E7586DBA7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: Shape 71">
              <a:extLst>
                <a:ext uri="{FF2B5EF4-FFF2-40B4-BE49-F238E27FC236}">
                  <a16:creationId xmlns:a16="http://schemas.microsoft.com/office/drawing/2014/main" id="{DE4697ED-4B8B-F193-9BA9-934337322137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: Shape 72">
              <a:extLst>
                <a:ext uri="{FF2B5EF4-FFF2-40B4-BE49-F238E27FC236}">
                  <a16:creationId xmlns:a16="http://schemas.microsoft.com/office/drawing/2014/main" id="{DDFA9F4A-E2E0-0B74-3334-82410E5973FC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: Shape 73">
              <a:extLst>
                <a:ext uri="{FF2B5EF4-FFF2-40B4-BE49-F238E27FC236}">
                  <a16:creationId xmlns:a16="http://schemas.microsoft.com/office/drawing/2014/main" id="{CCEE1050-4EE9-D140-06AE-57B82C1C0A3A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: Shape 74">
              <a:extLst>
                <a:ext uri="{FF2B5EF4-FFF2-40B4-BE49-F238E27FC236}">
                  <a16:creationId xmlns:a16="http://schemas.microsoft.com/office/drawing/2014/main" id="{46F28313-8E62-D112-CEDF-EB120F271AF2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: Shape 75">
              <a:extLst>
                <a:ext uri="{FF2B5EF4-FFF2-40B4-BE49-F238E27FC236}">
                  <a16:creationId xmlns:a16="http://schemas.microsoft.com/office/drawing/2014/main" id="{78470A00-0150-D6F4-879B-EB5285DB53F3}"/>
                </a:ext>
              </a:extLst>
            </p:cNvPr>
            <p:cNvSpPr/>
            <p:nvPr/>
          </p:nvSpPr>
          <p:spPr>
            <a:xfrm>
              <a:off x="2597578" y="3391266"/>
              <a:ext cx="633889" cy="428600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pattFill prst="wdUpDiag">
              <a:fgClr>
                <a:srgbClr val="0C29FF"/>
              </a:fgClr>
              <a:bgClr>
                <a:schemeClr val="bg1"/>
              </a:bgClr>
            </a:patt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: Shape 76">
              <a:extLst>
                <a:ext uri="{FF2B5EF4-FFF2-40B4-BE49-F238E27FC236}">
                  <a16:creationId xmlns:a16="http://schemas.microsoft.com/office/drawing/2014/main" id="{F9E7BE16-2081-EA66-36E7-352B6284E3A6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: Shape 77">
              <a:extLst>
                <a:ext uri="{FF2B5EF4-FFF2-40B4-BE49-F238E27FC236}">
                  <a16:creationId xmlns:a16="http://schemas.microsoft.com/office/drawing/2014/main" id="{82D4FCFE-F216-1B55-9314-F5FF35A8E72C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: Shape 80">
              <a:extLst>
                <a:ext uri="{FF2B5EF4-FFF2-40B4-BE49-F238E27FC236}">
                  <a16:creationId xmlns:a16="http://schemas.microsoft.com/office/drawing/2014/main" id="{5DEDF486-B3CD-B10C-6909-7A4CEB5721D5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: Shape 81">
              <a:extLst>
                <a:ext uri="{FF2B5EF4-FFF2-40B4-BE49-F238E27FC236}">
                  <a16:creationId xmlns:a16="http://schemas.microsoft.com/office/drawing/2014/main" id="{29197A3E-62A7-142D-B06C-AE3069484F98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: Shape 82">
              <a:extLst>
                <a:ext uri="{FF2B5EF4-FFF2-40B4-BE49-F238E27FC236}">
                  <a16:creationId xmlns:a16="http://schemas.microsoft.com/office/drawing/2014/main" id="{A7527D22-D70E-4D0A-EC94-FF007B0A71C9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: Shape 119">
              <a:extLst>
                <a:ext uri="{FF2B5EF4-FFF2-40B4-BE49-F238E27FC236}">
                  <a16:creationId xmlns:a16="http://schemas.microsoft.com/office/drawing/2014/main" id="{1B3C3AAD-0A09-660D-A07E-0891EE2705A6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: Shape 120">
              <a:extLst>
                <a:ext uri="{FF2B5EF4-FFF2-40B4-BE49-F238E27FC236}">
                  <a16:creationId xmlns:a16="http://schemas.microsoft.com/office/drawing/2014/main" id="{282A4CDA-B7B7-5A7C-BC42-1055343D9BED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: Shape 121">
              <a:extLst>
                <a:ext uri="{FF2B5EF4-FFF2-40B4-BE49-F238E27FC236}">
                  <a16:creationId xmlns:a16="http://schemas.microsoft.com/office/drawing/2014/main" id="{CACE35E0-5C3D-E62A-1C3B-205A2E96AE8F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: Shape 122">
              <a:extLst>
                <a:ext uri="{FF2B5EF4-FFF2-40B4-BE49-F238E27FC236}">
                  <a16:creationId xmlns:a16="http://schemas.microsoft.com/office/drawing/2014/main" id="{0D6F1F98-028A-50E9-FD4D-801F2ECC622D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: Shape 123">
              <a:extLst>
                <a:ext uri="{FF2B5EF4-FFF2-40B4-BE49-F238E27FC236}">
                  <a16:creationId xmlns:a16="http://schemas.microsoft.com/office/drawing/2014/main" id="{BC89EC29-1689-DACA-612F-564183D248A0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: Shape 124">
              <a:extLst>
                <a:ext uri="{FF2B5EF4-FFF2-40B4-BE49-F238E27FC236}">
                  <a16:creationId xmlns:a16="http://schemas.microsoft.com/office/drawing/2014/main" id="{C9EFB34E-C3DC-0CB7-8F48-DBD50AC8E1CD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: Shape 125">
              <a:extLst>
                <a:ext uri="{FF2B5EF4-FFF2-40B4-BE49-F238E27FC236}">
                  <a16:creationId xmlns:a16="http://schemas.microsoft.com/office/drawing/2014/main" id="{7CBA1816-5D43-F675-4982-C2102E7014AD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: Shape 126">
              <a:extLst>
                <a:ext uri="{FF2B5EF4-FFF2-40B4-BE49-F238E27FC236}">
                  <a16:creationId xmlns:a16="http://schemas.microsoft.com/office/drawing/2014/main" id="{4373A10D-AA6C-1E61-86D9-287E5497F2DD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: Shape 127">
              <a:extLst>
                <a:ext uri="{FF2B5EF4-FFF2-40B4-BE49-F238E27FC236}">
                  <a16:creationId xmlns:a16="http://schemas.microsoft.com/office/drawing/2014/main" id="{62721690-5635-0EFA-79B8-6A823E6D2C3F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: Shape 128">
              <a:extLst>
                <a:ext uri="{FF2B5EF4-FFF2-40B4-BE49-F238E27FC236}">
                  <a16:creationId xmlns:a16="http://schemas.microsoft.com/office/drawing/2014/main" id="{55F3C6C5-C471-6B80-76B0-10210716A5BE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: Shape 129">
              <a:extLst>
                <a:ext uri="{FF2B5EF4-FFF2-40B4-BE49-F238E27FC236}">
                  <a16:creationId xmlns:a16="http://schemas.microsoft.com/office/drawing/2014/main" id="{6D3E6CC3-0915-AF29-1F05-E46DB5FC9A21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: Shape 130">
              <a:extLst>
                <a:ext uri="{FF2B5EF4-FFF2-40B4-BE49-F238E27FC236}">
                  <a16:creationId xmlns:a16="http://schemas.microsoft.com/office/drawing/2014/main" id="{EBC1E6A1-416D-98F1-F52B-6657C01B3CB4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: Shape 131">
              <a:extLst>
                <a:ext uri="{FF2B5EF4-FFF2-40B4-BE49-F238E27FC236}">
                  <a16:creationId xmlns:a16="http://schemas.microsoft.com/office/drawing/2014/main" id="{6D55D8BD-8A68-B90A-6C2E-E758B3E4E2E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: Shape 132">
              <a:extLst>
                <a:ext uri="{FF2B5EF4-FFF2-40B4-BE49-F238E27FC236}">
                  <a16:creationId xmlns:a16="http://schemas.microsoft.com/office/drawing/2014/main" id="{55CDD6EE-1E72-C46A-AA2D-ACBC9B6C9EE3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: Shape 133">
              <a:extLst>
                <a:ext uri="{FF2B5EF4-FFF2-40B4-BE49-F238E27FC236}">
                  <a16:creationId xmlns:a16="http://schemas.microsoft.com/office/drawing/2014/main" id="{4BD6AC8E-7D24-5705-3287-754DD5356A7C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: Shape 134">
              <a:extLst>
                <a:ext uri="{FF2B5EF4-FFF2-40B4-BE49-F238E27FC236}">
                  <a16:creationId xmlns:a16="http://schemas.microsoft.com/office/drawing/2014/main" id="{5F46FA57-410E-FE53-D26B-817FDA4C25A9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sz="1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0550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</p:sldLayoutIdLst>
  <p:hf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600" b="1" i="0">
          <a:solidFill>
            <a:srgbClr val="3366FF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84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67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51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34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rgbClr val="3366FF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85750" marR="0" indent="-285750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0100FE"/>
        </a:buClr>
        <a:buSzPct val="70000"/>
        <a:buFont typeface="Wingdings" panose="05000000000000000000" pitchFamily="2" charset="2"/>
        <a:buChar char="l"/>
        <a:tabLst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546100" indent="-2667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806450" indent="-2667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50" indent="-29210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00" indent="-31115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843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127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411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8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67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51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3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18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02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1985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269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000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149">
          <p15:clr>
            <a:srgbClr val="F26B43"/>
          </p15:clr>
        </p15:guide>
        <p15:guide id="5" orient="horz" pos="4110">
          <p15:clr>
            <a:srgbClr val="F26B43"/>
          </p15:clr>
        </p15:guide>
        <p15:guide id="6" pos="33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480000" y="970654"/>
            <a:ext cx="10154344" cy="586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hange </a:t>
            </a:r>
            <a:r>
              <a:rPr lang="de-DE" err="1"/>
              <a:t>cover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6380" y="5805264"/>
            <a:ext cx="2408534" cy="91009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CFF8BA4-9DA2-4974-94C2-B3C3C21E4193}"/>
              </a:ext>
            </a:extLst>
          </p:cNvPr>
          <p:cNvSpPr/>
          <p:nvPr userDrawn="1"/>
        </p:nvSpPr>
        <p:spPr>
          <a:xfrm flipH="1">
            <a:off x="-1" y="1944000"/>
            <a:ext cx="480000" cy="3600000"/>
          </a:xfrm>
          <a:prstGeom prst="rect">
            <a:avLst/>
          </a:prstGeom>
          <a:gradFill>
            <a:gsLst>
              <a:gs pos="0">
                <a:schemeClr val="tx1">
                  <a:lumMod val="10000"/>
                  <a:lumOff val="90000"/>
                </a:schemeClr>
              </a:gs>
              <a:gs pos="100000">
                <a:schemeClr val="bg2">
                  <a:lumMod val="9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8" name="Grafik 2">
            <a:extLst>
              <a:ext uri="{FF2B5EF4-FFF2-40B4-BE49-F238E27FC236}">
                <a16:creationId xmlns:a16="http://schemas.microsoft.com/office/drawing/2014/main" id="{FEAC8229-7F65-4232-9949-13B76E4D0D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" t="13382" r="983" b="32564"/>
          <a:stretch/>
        </p:blipFill>
        <p:spPr>
          <a:xfrm>
            <a:off x="479998" y="1944000"/>
            <a:ext cx="11712001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274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rgbClr val="0F218B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480000" y="970654"/>
            <a:ext cx="10154344" cy="586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hange </a:t>
            </a:r>
            <a:r>
              <a:rPr lang="de-DE" err="1"/>
              <a:t>cover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6380" y="5805264"/>
            <a:ext cx="2408534" cy="91009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CFF8BA4-9DA2-4974-94C2-B3C3C21E4193}"/>
              </a:ext>
            </a:extLst>
          </p:cNvPr>
          <p:cNvSpPr/>
          <p:nvPr userDrawn="1"/>
        </p:nvSpPr>
        <p:spPr>
          <a:xfrm flipH="1">
            <a:off x="-1" y="1944000"/>
            <a:ext cx="480000" cy="3600000"/>
          </a:xfrm>
          <a:prstGeom prst="rect">
            <a:avLst/>
          </a:prstGeom>
          <a:gradFill>
            <a:gsLst>
              <a:gs pos="0">
                <a:schemeClr val="tx1">
                  <a:lumMod val="10000"/>
                  <a:lumOff val="90000"/>
                </a:schemeClr>
              </a:gs>
              <a:gs pos="100000">
                <a:schemeClr val="bg2">
                  <a:lumMod val="9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8" name="Grafik 2">
            <a:extLst>
              <a:ext uri="{FF2B5EF4-FFF2-40B4-BE49-F238E27FC236}">
                <a16:creationId xmlns:a16="http://schemas.microsoft.com/office/drawing/2014/main" id="{2B3803D2-BD86-4ABB-8BDF-1BC5164EA2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74" b="30582"/>
          <a:stretch/>
        </p:blipFill>
        <p:spPr>
          <a:xfrm>
            <a:off x="479998" y="1944000"/>
            <a:ext cx="11712001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631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rgbClr val="0F218B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480000" y="970654"/>
            <a:ext cx="10154344" cy="586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hange </a:t>
            </a:r>
            <a:r>
              <a:rPr lang="de-DE" err="1"/>
              <a:t>cover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6380" y="5805264"/>
            <a:ext cx="2408534" cy="91009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CFF8BA4-9DA2-4974-94C2-B3C3C21E4193}"/>
              </a:ext>
            </a:extLst>
          </p:cNvPr>
          <p:cNvSpPr/>
          <p:nvPr userDrawn="1"/>
        </p:nvSpPr>
        <p:spPr>
          <a:xfrm flipH="1">
            <a:off x="-1" y="1944000"/>
            <a:ext cx="480000" cy="3600000"/>
          </a:xfrm>
          <a:prstGeom prst="rect">
            <a:avLst/>
          </a:prstGeom>
          <a:gradFill>
            <a:gsLst>
              <a:gs pos="0">
                <a:schemeClr val="tx1">
                  <a:lumMod val="10000"/>
                  <a:lumOff val="90000"/>
                </a:schemeClr>
              </a:gs>
              <a:gs pos="100000">
                <a:schemeClr val="bg2">
                  <a:lumMod val="9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8" name="Grafik 2">
            <a:extLst>
              <a:ext uri="{FF2B5EF4-FFF2-40B4-BE49-F238E27FC236}">
                <a16:creationId xmlns:a16="http://schemas.microsoft.com/office/drawing/2014/main" id="{2B3803D2-BD86-4ABB-8BDF-1BC5164EA2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1" t="12201" r="672" b="34184"/>
          <a:stretch/>
        </p:blipFill>
        <p:spPr>
          <a:xfrm>
            <a:off x="479998" y="1944000"/>
            <a:ext cx="11712001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334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rgbClr val="0F218B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480000" y="970654"/>
            <a:ext cx="10154344" cy="586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hange </a:t>
            </a:r>
            <a:r>
              <a:rPr lang="de-DE" err="1"/>
              <a:t>cover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6380" y="5805264"/>
            <a:ext cx="2408534" cy="91009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CFF8BA4-9DA2-4974-94C2-B3C3C21E4193}"/>
              </a:ext>
            </a:extLst>
          </p:cNvPr>
          <p:cNvSpPr/>
          <p:nvPr userDrawn="1"/>
        </p:nvSpPr>
        <p:spPr>
          <a:xfrm flipH="1">
            <a:off x="-1" y="1944000"/>
            <a:ext cx="480000" cy="3600000"/>
          </a:xfrm>
          <a:prstGeom prst="rect">
            <a:avLst/>
          </a:prstGeom>
          <a:gradFill>
            <a:gsLst>
              <a:gs pos="0">
                <a:schemeClr val="tx1">
                  <a:lumMod val="10000"/>
                  <a:lumOff val="90000"/>
                </a:schemeClr>
              </a:gs>
              <a:gs pos="100000">
                <a:schemeClr val="bg2">
                  <a:lumMod val="9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8" name="Grafik 2">
            <a:extLst>
              <a:ext uri="{FF2B5EF4-FFF2-40B4-BE49-F238E27FC236}">
                <a16:creationId xmlns:a16="http://schemas.microsoft.com/office/drawing/2014/main" id="{2B3803D2-BD86-4ABB-8BDF-1BC5164EA2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07" b="28549"/>
          <a:stretch/>
        </p:blipFill>
        <p:spPr>
          <a:xfrm>
            <a:off x="479998" y="1944000"/>
            <a:ext cx="11712001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331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rgbClr val="0F218B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32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76" r:id="rId2"/>
    <p:sldLayoutId id="2147483731" r:id="rId3"/>
    <p:sldLayoutId id="2147483732" r:id="rId4"/>
    <p:sldLayoutId id="2147483733" r:id="rId5"/>
    <p:sldLayoutId id="2147483742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736" r:id="rId15"/>
    <p:sldLayoutId id="2147483780" r:id="rId16"/>
    <p:sldLayoutId id="2147483771" r:id="rId17"/>
    <p:sldLayoutId id="2147483775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6E3ACE-C7F4-440A-A14E-919D653CEF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07648" y="6504944"/>
            <a:ext cx="780356" cy="207282"/>
          </a:xfrm>
          <a:prstGeom prst="rect">
            <a:avLst/>
          </a:prstGeom>
        </p:spPr>
      </p:pic>
      <p:sp>
        <p:nvSpPr>
          <p:cNvPr id="5" name="Titel 5">
            <a:extLst>
              <a:ext uri="{FF2B5EF4-FFF2-40B4-BE49-F238E27FC236}">
                <a16:creationId xmlns:a16="http://schemas.microsoft.com/office/drawing/2014/main" id="{238BD34C-4A6E-4BD9-9901-A54798E10C53}"/>
              </a:ext>
            </a:extLst>
          </p:cNvPr>
          <p:cNvSpPr txBox="1">
            <a:spLocks/>
          </p:cNvSpPr>
          <p:nvPr userDrawn="1"/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ENTSO-E Mission Statement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7E01F648-EFC5-4F89-930B-24E6669FA694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166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1587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48141D3-40DB-4ADC-21B1-16F00C5F1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48141D3-40DB-4ADC-21B1-16F00C5F1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480000" y="970654"/>
            <a:ext cx="10154344" cy="586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IE"/>
              <a:t>Change cover picture her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6380" y="5805264"/>
            <a:ext cx="2408534" cy="91009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CFF8BA4-9DA2-4974-94C2-B3C3C21E4193}"/>
              </a:ext>
            </a:extLst>
          </p:cNvPr>
          <p:cNvSpPr/>
          <p:nvPr userDrawn="1"/>
        </p:nvSpPr>
        <p:spPr>
          <a:xfrm flipH="1">
            <a:off x="-1" y="1944000"/>
            <a:ext cx="480000" cy="3600000"/>
          </a:xfrm>
          <a:prstGeom prst="rect">
            <a:avLst/>
          </a:prstGeom>
          <a:gradFill>
            <a:gsLst>
              <a:gs pos="0">
                <a:schemeClr val="tx1">
                  <a:lumMod val="10000"/>
                  <a:lumOff val="90000"/>
                </a:schemeClr>
              </a:gs>
              <a:gs pos="100000">
                <a:schemeClr val="bg2">
                  <a:lumMod val="9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IE" sz="1800"/>
          </a:p>
        </p:txBody>
      </p:sp>
      <p:pic>
        <p:nvPicPr>
          <p:cNvPr id="8" name="Grafik 2">
            <a:extLst>
              <a:ext uri="{FF2B5EF4-FFF2-40B4-BE49-F238E27FC236}">
                <a16:creationId xmlns:a16="http://schemas.microsoft.com/office/drawing/2014/main" id="{FEAC8229-7F65-4232-9949-13B76E4D0D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79" b="24177"/>
          <a:stretch/>
        </p:blipFill>
        <p:spPr>
          <a:xfrm>
            <a:off x="479998" y="1944000"/>
            <a:ext cx="11712001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644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rgbClr val="0F218B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4.svg"/><Relationship Id="rId4" Type="http://schemas.openxmlformats.org/officeDocument/2006/relationships/image" Target="../media/image6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A14441-693F-694C-A28B-F5B90C5F9F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A14441-693F-694C-A28B-F5B90C5F9F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728DEF-E9BA-465A-9213-1490F2445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001" y="440669"/>
            <a:ext cx="11281639" cy="629179"/>
          </a:xfrm>
        </p:spPr>
        <p:txBody>
          <a:bodyPr vert="horz"/>
          <a:lstStyle/>
          <a:p>
            <a:r>
              <a:rPr lang="en-IE" dirty="0"/>
              <a:t>Collateral Improvements Proof of Concept</a:t>
            </a:r>
          </a:p>
        </p:txBody>
      </p:sp>
    </p:spTree>
    <p:extLst>
      <p:ext uri="{BB962C8B-B14F-4D97-AF65-F5344CB8AC3E}">
        <p14:creationId xmlns:p14="http://schemas.microsoft.com/office/powerpoint/2010/main" val="1892999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9FD5E7-6480-3439-1F1F-A246610A5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E3891-F5B7-DD7D-B94E-1C3B4A238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llateral Improv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8AE414-7462-BBB3-A99E-E343D68D68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GB">
                <a:latin typeface="Calibri"/>
                <a:ea typeface="Calibri"/>
                <a:cs typeface="Calibri"/>
              </a:rPr>
              <a:t>Background of Collaterals in LT-Market</a:t>
            </a:r>
            <a:endParaRPr lang="en-US"/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0F6FE4C8-F905-1DFE-5AD5-E5ED5B283387}"/>
              </a:ext>
            </a:extLst>
          </p:cNvPr>
          <p:cNvSpPr txBox="1">
            <a:spLocks/>
          </p:cNvSpPr>
          <p:nvPr/>
        </p:nvSpPr>
        <p:spPr>
          <a:xfrm>
            <a:off x="382585" y="1566504"/>
            <a:ext cx="11158251" cy="465937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According to </a:t>
            </a:r>
            <a:r>
              <a:rPr lang="en-GB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FCA Article 41(2)</a:t>
            </a: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, MPs must deposit </a:t>
            </a:r>
            <a:r>
              <a:rPr lang="en-GB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financial collateral prior to the auctions</a:t>
            </a:r>
            <a:endParaRPr lang="en-GB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According to </a:t>
            </a:r>
            <a:r>
              <a:rPr lang="en-GB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HAR Article 23</a:t>
            </a: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, SAP must calculate and continuously update the </a:t>
            </a:r>
            <a:r>
              <a:rPr lang="en-GB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credit limit for each registered</a:t>
            </a:r>
            <a:r>
              <a:rPr kumimoji="0" lang="en-GB" i="0" u="none" strike="noStrike" kern="1200" cap="none" spc="0" normalizeH="0" baseline="0" noProof="0">
                <a:ln>
                  <a:noFill/>
                </a:ln>
                <a:solidFill>
                  <a:srgbClr val="3A3A3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</a:t>
            </a:r>
            <a:r>
              <a:rPr lang="en-GB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MP</a:t>
            </a: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:</a:t>
            </a:r>
          </a:p>
          <a:p>
            <a:pPr algn="ctr">
              <a:defRPr/>
            </a:pPr>
            <a:r>
              <a:rPr lang="en-GB" b="0" i="1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Credit limit = collateral – outstanding payment obligations</a:t>
            </a:r>
            <a:endParaRPr lang="en-US" b="0" i="1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When a bid is submitted by an MP, the so-called </a:t>
            </a:r>
            <a:r>
              <a:rPr lang="en-GB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credit limit verification </a:t>
            </a: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must be carried out in accordance with </a:t>
            </a:r>
            <a:r>
              <a:rPr lang="en-GB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HAR Article 34</a:t>
            </a: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:</a:t>
            </a:r>
          </a:p>
          <a:p>
            <a:pPr algn="ctr">
              <a:defRPr/>
            </a:pPr>
            <a:r>
              <a:rPr lang="en-GB" b="0" i="1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Credit limit ≥= 0, with outstanding payment obligation = maximum payment obligation (MPO)</a:t>
            </a:r>
          </a:p>
          <a:p>
            <a:pPr>
              <a:defRPr/>
            </a:pPr>
            <a:r>
              <a:rPr lang="en-US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	</a:t>
            </a:r>
            <a:r>
              <a:rPr lang="en-US">
                <a:solidFill>
                  <a:srgbClr val="FFC000"/>
                </a:solidFill>
                <a:latin typeface="Calibri"/>
                <a:ea typeface="Calibri"/>
                <a:cs typeface="Calibri"/>
              </a:rPr>
              <a:t>Increase in collateral requirements due to LTFBA, as auctions are held simultaneously for all BZBs.</a:t>
            </a:r>
            <a:br>
              <a:rPr lang="en-US">
                <a:latin typeface="Calibri"/>
                <a:ea typeface="Calibri"/>
                <a:cs typeface="Calibri"/>
              </a:rPr>
            </a:br>
            <a:r>
              <a:rPr lang="en-US">
                <a:solidFill>
                  <a:srgbClr val="FFC000"/>
                </a:solidFill>
                <a:latin typeface="Calibri"/>
                <a:ea typeface="Calibri"/>
                <a:cs typeface="Calibri"/>
              </a:rPr>
              <a:t>	Filter bids intelligently, but how?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Discussions</a:t>
            </a:r>
            <a:r>
              <a:rPr lang="en-US" b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on this topic already took place </a:t>
            </a:r>
            <a:r>
              <a:rPr lang="en-US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when amending HAR in 2023</a:t>
            </a:r>
            <a:r>
              <a:rPr lang="en-US" b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.</a:t>
            </a:r>
            <a:br>
              <a:rPr lang="en-US" b="0">
                <a:latin typeface="Calibri"/>
                <a:ea typeface="Calibri"/>
                <a:cs typeface="Calibri"/>
              </a:rPr>
            </a:br>
            <a:r>
              <a:rPr lang="en-US" b="0">
                <a:solidFill>
                  <a:schemeClr val="tx1"/>
                </a:solidFill>
                <a:latin typeface="Calibri"/>
                <a:ea typeface="Calibri"/>
                <a:cs typeface="Calibri"/>
                <a:sym typeface="Wingdings" panose="05000000000000000000" pitchFamily="2" charset="2"/>
              </a:rPr>
              <a:t> </a:t>
            </a:r>
            <a:r>
              <a:rPr lang="en-US" b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Outcome was to use a </a:t>
            </a:r>
            <a:r>
              <a:rPr lang="en-US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price cap based on DA and forward prices</a:t>
            </a:r>
            <a:r>
              <a:rPr lang="en-US" b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to limit the MPO (see HAR article 34(6) and (7))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b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his approach can lead to an </a:t>
            </a:r>
            <a:r>
              <a:rPr lang="en-US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over-/underestimation of the market clearing price</a:t>
            </a:r>
            <a:r>
              <a:rPr lang="en-US" b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b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Late in the process </a:t>
            </a:r>
            <a:r>
              <a:rPr lang="en-US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N-SIDE proposed alternative approach to “filter bids”</a:t>
            </a:r>
            <a:r>
              <a:rPr lang="en-US" b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, but </a:t>
            </a:r>
            <a:r>
              <a:rPr lang="en-US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LTFBA go-live should not be </a:t>
            </a:r>
            <a:r>
              <a:rPr lang="en-US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jeopardised</a:t>
            </a:r>
            <a:r>
              <a:rPr lang="en-US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en-US" b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due to additional workload on collateral improvements.</a:t>
            </a:r>
          </a:p>
          <a:p>
            <a:pPr>
              <a:defRPr/>
            </a:pPr>
            <a:endParaRPr lang="en-US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endParaRPr lang="en-GB" b="0" i="0" u="none" strike="noStrike" kern="1200" cap="none" spc="0" normalizeH="0" baseline="0" noProof="0">
              <a:ln>
                <a:noFill/>
              </a:ln>
              <a:solidFill>
                <a:srgbClr val="3A3A3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4" name="Grafik 3" descr="Hochspannung mit einfarbiger Füllung">
            <a:extLst>
              <a:ext uri="{FF2B5EF4-FFF2-40B4-BE49-F238E27FC236}">
                <a16:creationId xmlns:a16="http://schemas.microsoft.com/office/drawing/2014/main" id="{607A31C6-163A-C634-B2D8-0F71026D33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5766" y="3577284"/>
            <a:ext cx="730539" cy="730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743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717F4-D0B8-AF87-8B43-CBC1F11609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4DE4BE-9332-CB12-F884-0E21CBD388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llateral Improv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4E498B-ABBF-3123-4069-396533B521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GB">
                <a:latin typeface="Calibri"/>
                <a:ea typeface="Calibri"/>
                <a:cs typeface="Calibri"/>
              </a:rPr>
              <a:t>Current vs. New Approach</a:t>
            </a:r>
            <a:endParaRPr lang="en-US"/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E55D7F39-162A-1AFD-2E5D-0F24F174DD04}"/>
              </a:ext>
            </a:extLst>
          </p:cNvPr>
          <p:cNvSpPr txBox="1">
            <a:spLocks/>
          </p:cNvSpPr>
          <p:nvPr/>
        </p:nvSpPr>
        <p:spPr>
          <a:xfrm>
            <a:off x="382585" y="1566504"/>
            <a:ext cx="11158251" cy="465937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Current Approach: </a:t>
            </a: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Bid Filtering </a:t>
            </a:r>
            <a:r>
              <a:rPr lang="en-GB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prior</a:t>
            </a: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 to Auction Result Determination based on </a:t>
            </a:r>
            <a:r>
              <a:rPr lang="en-GB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bid price and price cap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r>
              <a:rPr lang="en-GB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New Approach: </a:t>
            </a: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Bid Filtering </a:t>
            </a:r>
            <a:r>
              <a:rPr lang="en-GB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during</a:t>
            </a: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 Auction Result Determination based on </a:t>
            </a:r>
            <a:r>
              <a:rPr lang="en-GB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marginal clearing prices</a:t>
            </a:r>
            <a:endParaRPr lang="en-US" b="0" u="sng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endParaRPr lang="en-GB" b="0" i="0" u="none" strike="noStrike" kern="1200" cap="none" spc="0" normalizeH="0" baseline="0" noProof="0">
              <a:ln>
                <a:noFill/>
              </a:ln>
              <a:solidFill>
                <a:srgbClr val="3A3A3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6B80151A-87D6-256A-8110-3B24F151C9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7164329"/>
              </p:ext>
            </p:extLst>
          </p:nvPr>
        </p:nvGraphicFramePr>
        <p:xfrm>
          <a:off x="1897710" y="1992246"/>
          <a:ext cx="8128000" cy="14367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9CF3E1F-6EB1-ADBE-869D-772B0AB79C27}"/>
              </a:ext>
            </a:extLst>
          </p:cNvPr>
          <p:cNvGrpSpPr/>
          <p:nvPr/>
        </p:nvGrpSpPr>
        <p:grpSpPr>
          <a:xfrm>
            <a:off x="1897710" y="4281527"/>
            <a:ext cx="8116687" cy="2019937"/>
            <a:chOff x="1903366" y="4623915"/>
            <a:chExt cx="8116687" cy="2019937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270CF50-396A-6149-E699-413E47CD8AE3}"/>
                </a:ext>
              </a:extLst>
            </p:cNvPr>
            <p:cNvSpPr/>
            <p:nvPr/>
          </p:nvSpPr>
          <p:spPr>
            <a:xfrm>
              <a:off x="1903366" y="4623915"/>
              <a:ext cx="2849562" cy="756000"/>
            </a:xfrm>
            <a:custGeom>
              <a:avLst/>
              <a:gdLst>
                <a:gd name="csX0" fmla="*/ 0 w 2849562"/>
                <a:gd name="csY0" fmla="*/ 0 h 756000"/>
                <a:gd name="csX1" fmla="*/ 2471562 w 2849562"/>
                <a:gd name="csY1" fmla="*/ 0 h 756000"/>
                <a:gd name="csX2" fmla="*/ 2849562 w 2849562"/>
                <a:gd name="csY2" fmla="*/ 378000 h 756000"/>
                <a:gd name="csX3" fmla="*/ 2471562 w 2849562"/>
                <a:gd name="csY3" fmla="*/ 756000 h 756000"/>
                <a:gd name="csX4" fmla="*/ 0 w 2849562"/>
                <a:gd name="csY4" fmla="*/ 756000 h 756000"/>
                <a:gd name="csX5" fmla="*/ 378000 w 2849562"/>
                <a:gd name="csY5" fmla="*/ 378000 h 756000"/>
                <a:gd name="csX6" fmla="*/ 0 w 2849562"/>
                <a:gd name="csY6" fmla="*/ 0 h 756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2849562" h="756000">
                  <a:moveTo>
                    <a:pt x="0" y="0"/>
                  </a:moveTo>
                  <a:lnTo>
                    <a:pt x="2471562" y="0"/>
                  </a:lnTo>
                  <a:lnTo>
                    <a:pt x="2849562" y="378000"/>
                  </a:lnTo>
                  <a:lnTo>
                    <a:pt x="2471562" y="756000"/>
                  </a:lnTo>
                  <a:lnTo>
                    <a:pt x="0" y="756000"/>
                  </a:lnTo>
                  <a:lnTo>
                    <a:pt x="378000" y="37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34007" tIns="18669" rIns="396669" bIns="18669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400" b="1" kern="1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Bidding Period</a:t>
              </a: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442CA4F1-A89D-6C5A-21F5-D2574D1D7482}"/>
                </a:ext>
              </a:extLst>
            </p:cNvPr>
            <p:cNvSpPr/>
            <p:nvPr/>
          </p:nvSpPr>
          <p:spPr>
            <a:xfrm>
              <a:off x="1903366" y="5474415"/>
              <a:ext cx="2279649" cy="1169437"/>
            </a:xfrm>
            <a:custGeom>
              <a:avLst/>
              <a:gdLst>
                <a:gd name="csX0" fmla="*/ 0 w 2279649"/>
                <a:gd name="csY0" fmla="*/ 0 h 1169437"/>
                <a:gd name="csX1" fmla="*/ 2279649 w 2279649"/>
                <a:gd name="csY1" fmla="*/ 0 h 1169437"/>
                <a:gd name="csX2" fmla="*/ 2279649 w 2279649"/>
                <a:gd name="csY2" fmla="*/ 1169437 h 1169437"/>
                <a:gd name="csX3" fmla="*/ 0 w 2279649"/>
                <a:gd name="csY3" fmla="*/ 1169437 h 1169437"/>
                <a:gd name="csX4" fmla="*/ 0 w 2279649"/>
                <a:gd name="csY4" fmla="*/ 0 h 116943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2279649" h="1169437">
                  <a:moveTo>
                    <a:pt x="0" y="0"/>
                  </a:moveTo>
                  <a:lnTo>
                    <a:pt x="2279649" y="0"/>
                  </a:lnTo>
                  <a:lnTo>
                    <a:pt x="2279649" y="1169437"/>
                  </a:lnTo>
                  <a:lnTo>
                    <a:pt x="0" y="116943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400" kern="1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Warning to MP based on Maximum Payment Obligation</a:t>
              </a: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8EE0E65-4183-93CF-3DB2-C075913851E0}"/>
                </a:ext>
              </a:extLst>
            </p:cNvPr>
            <p:cNvSpPr/>
            <p:nvPr/>
          </p:nvSpPr>
          <p:spPr>
            <a:xfrm>
              <a:off x="4536928" y="4623915"/>
              <a:ext cx="2849562" cy="756000"/>
            </a:xfrm>
            <a:custGeom>
              <a:avLst/>
              <a:gdLst>
                <a:gd name="csX0" fmla="*/ 0 w 2849562"/>
                <a:gd name="csY0" fmla="*/ 0 h 756000"/>
                <a:gd name="csX1" fmla="*/ 2471562 w 2849562"/>
                <a:gd name="csY1" fmla="*/ 0 h 756000"/>
                <a:gd name="csX2" fmla="*/ 2849562 w 2849562"/>
                <a:gd name="csY2" fmla="*/ 378000 h 756000"/>
                <a:gd name="csX3" fmla="*/ 2471562 w 2849562"/>
                <a:gd name="csY3" fmla="*/ 756000 h 756000"/>
                <a:gd name="csX4" fmla="*/ 0 w 2849562"/>
                <a:gd name="csY4" fmla="*/ 756000 h 756000"/>
                <a:gd name="csX5" fmla="*/ 378000 w 2849562"/>
                <a:gd name="csY5" fmla="*/ 378000 h 756000"/>
                <a:gd name="csX6" fmla="*/ 0 w 2849562"/>
                <a:gd name="csY6" fmla="*/ 0 h 756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2849562" h="756000">
                  <a:moveTo>
                    <a:pt x="0" y="0"/>
                  </a:moveTo>
                  <a:lnTo>
                    <a:pt x="2471562" y="0"/>
                  </a:lnTo>
                  <a:lnTo>
                    <a:pt x="2849562" y="378000"/>
                  </a:lnTo>
                  <a:lnTo>
                    <a:pt x="2471562" y="756000"/>
                  </a:lnTo>
                  <a:lnTo>
                    <a:pt x="0" y="756000"/>
                  </a:lnTo>
                  <a:lnTo>
                    <a:pt x="378000" y="37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34007" tIns="18669" rIns="396669" bIns="18669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400" b="1" strike="sngStrike" kern="1200" baseline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redit Limit Verification incl. Bid Rejection</a:t>
              </a: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CD39C714-5BF2-951C-B607-8237F2E6DDC2}"/>
                </a:ext>
              </a:extLst>
            </p:cNvPr>
            <p:cNvSpPr/>
            <p:nvPr/>
          </p:nvSpPr>
          <p:spPr>
            <a:xfrm>
              <a:off x="4536928" y="5474415"/>
              <a:ext cx="2279649" cy="1169437"/>
            </a:xfrm>
            <a:custGeom>
              <a:avLst/>
              <a:gdLst>
                <a:gd name="csX0" fmla="*/ 0 w 2279649"/>
                <a:gd name="csY0" fmla="*/ 0 h 1169437"/>
                <a:gd name="csX1" fmla="*/ 2279649 w 2279649"/>
                <a:gd name="csY1" fmla="*/ 0 h 1169437"/>
                <a:gd name="csX2" fmla="*/ 2279649 w 2279649"/>
                <a:gd name="csY2" fmla="*/ 1169437 h 1169437"/>
                <a:gd name="csX3" fmla="*/ 0 w 2279649"/>
                <a:gd name="csY3" fmla="*/ 1169437 h 1169437"/>
                <a:gd name="csX4" fmla="*/ 0 w 2279649"/>
                <a:gd name="csY4" fmla="*/ 0 h 116943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2279649" h="1169437">
                  <a:moveTo>
                    <a:pt x="0" y="0"/>
                  </a:moveTo>
                  <a:lnTo>
                    <a:pt x="2279649" y="0"/>
                  </a:lnTo>
                  <a:lnTo>
                    <a:pt x="2279649" y="1169437"/>
                  </a:lnTo>
                  <a:lnTo>
                    <a:pt x="0" y="116943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400" kern="1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redit Limit Verification no individual step anymore, bu</a:t>
              </a:r>
              <a:r>
                <a:rPr lang="en-GB" sz="14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 included in next step</a:t>
              </a:r>
              <a:endParaRPr lang="en-GB" sz="1400" kern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A8A25E6F-C185-4D8C-48EC-F13665CD75A8}"/>
                </a:ext>
              </a:extLst>
            </p:cNvPr>
            <p:cNvSpPr/>
            <p:nvPr/>
          </p:nvSpPr>
          <p:spPr>
            <a:xfrm>
              <a:off x="7170491" y="4623915"/>
              <a:ext cx="2849562" cy="756000"/>
            </a:xfrm>
            <a:custGeom>
              <a:avLst/>
              <a:gdLst>
                <a:gd name="csX0" fmla="*/ 0 w 2849562"/>
                <a:gd name="csY0" fmla="*/ 0 h 756000"/>
                <a:gd name="csX1" fmla="*/ 2471562 w 2849562"/>
                <a:gd name="csY1" fmla="*/ 0 h 756000"/>
                <a:gd name="csX2" fmla="*/ 2849562 w 2849562"/>
                <a:gd name="csY2" fmla="*/ 378000 h 756000"/>
                <a:gd name="csX3" fmla="*/ 2471562 w 2849562"/>
                <a:gd name="csY3" fmla="*/ 756000 h 756000"/>
                <a:gd name="csX4" fmla="*/ 0 w 2849562"/>
                <a:gd name="csY4" fmla="*/ 756000 h 756000"/>
                <a:gd name="csX5" fmla="*/ 378000 w 2849562"/>
                <a:gd name="csY5" fmla="*/ 378000 h 756000"/>
                <a:gd name="csX6" fmla="*/ 0 w 2849562"/>
                <a:gd name="csY6" fmla="*/ 0 h 756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</a:cxnLst>
              <a:rect l="l" t="t" r="r" b="b"/>
              <a:pathLst>
                <a:path w="2849562" h="756000">
                  <a:moveTo>
                    <a:pt x="0" y="0"/>
                  </a:moveTo>
                  <a:lnTo>
                    <a:pt x="2471562" y="0"/>
                  </a:lnTo>
                  <a:lnTo>
                    <a:pt x="2849562" y="378000"/>
                  </a:lnTo>
                  <a:lnTo>
                    <a:pt x="2471562" y="756000"/>
                  </a:lnTo>
                  <a:lnTo>
                    <a:pt x="0" y="756000"/>
                  </a:lnTo>
                  <a:lnTo>
                    <a:pt x="378000" y="37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34007" tIns="18669" rIns="396669" bIns="18669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400" b="1" kern="1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uction Results Determination</a:t>
              </a: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5F8F450E-B59E-B001-B5BE-A87A0A2FB996}"/>
                </a:ext>
              </a:extLst>
            </p:cNvPr>
            <p:cNvSpPr/>
            <p:nvPr/>
          </p:nvSpPr>
          <p:spPr>
            <a:xfrm>
              <a:off x="7170491" y="5474415"/>
              <a:ext cx="2279649" cy="1169437"/>
            </a:xfrm>
            <a:custGeom>
              <a:avLst/>
              <a:gdLst>
                <a:gd name="csX0" fmla="*/ 0 w 2279649"/>
                <a:gd name="csY0" fmla="*/ 0 h 1169437"/>
                <a:gd name="csX1" fmla="*/ 2279649 w 2279649"/>
                <a:gd name="csY1" fmla="*/ 0 h 1169437"/>
                <a:gd name="csX2" fmla="*/ 2279649 w 2279649"/>
                <a:gd name="csY2" fmla="*/ 1169437 h 1169437"/>
                <a:gd name="csX3" fmla="*/ 0 w 2279649"/>
                <a:gd name="csY3" fmla="*/ 1169437 h 1169437"/>
                <a:gd name="csX4" fmla="*/ 0 w 2279649"/>
                <a:gd name="csY4" fmla="*/ 0 h 1169437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2279649" h="1169437">
                  <a:moveTo>
                    <a:pt x="0" y="0"/>
                  </a:moveTo>
                  <a:lnTo>
                    <a:pt x="2279649" y="0"/>
                  </a:lnTo>
                  <a:lnTo>
                    <a:pt x="2279649" y="1169437"/>
                  </a:lnTo>
                  <a:lnTo>
                    <a:pt x="0" y="116943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400" kern="1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llateral Budget considered as Boundary Condition in Optimization Problem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400" kern="1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Bid Rejection based on </a:t>
              </a:r>
              <a:r>
                <a:rPr lang="en-GB" sz="1400" u="sng" kern="1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rginal Clearing Pr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28822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1C9AE1-63F7-34BC-1C11-B9478F4670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6CFAF8CD-C3D2-245B-9657-1D028ED8FD8F}"/>
              </a:ext>
            </a:extLst>
          </p:cNvPr>
          <p:cNvSpPr/>
          <p:nvPr/>
        </p:nvSpPr>
        <p:spPr>
          <a:xfrm>
            <a:off x="376101" y="5649217"/>
            <a:ext cx="11300911" cy="6434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y using the actual Market Clearing Price (MCP) the problem of over-/underestimation of collaterals is solv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A9DDA-E1E0-5BB2-5E9F-2EB3D2EAA3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llateral Improv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B1C282-D3B7-3824-62EA-5EECC0F0D1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>
                <a:latin typeface="Calibri"/>
                <a:ea typeface="Calibri"/>
                <a:cs typeface="Calibri"/>
              </a:rPr>
              <a:t>New Approach: Exact market-based bid filtering based on the actual market prices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4AB8C9A3-13F0-E59D-5D72-429278C74ABF}"/>
              </a:ext>
            </a:extLst>
          </p:cNvPr>
          <p:cNvSpPr txBox="1">
            <a:spLocks/>
          </p:cNvSpPr>
          <p:nvPr/>
        </p:nvSpPr>
        <p:spPr>
          <a:xfrm>
            <a:off x="382585" y="1566504"/>
            <a:ext cx="11616268" cy="465937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endParaRPr lang="en-GB" b="0" i="0" u="none" strike="noStrike" kern="1200" cap="none" spc="0" normalizeH="0" baseline="0" noProof="0">
              <a:ln>
                <a:noFill/>
              </a:ln>
              <a:solidFill>
                <a:srgbClr val="3A3A3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040AB96-2EAA-D1FB-AE66-0B3DF6359DE4}"/>
              </a:ext>
            </a:extLst>
          </p:cNvPr>
          <p:cNvSpPr txBox="1"/>
          <p:nvPr/>
        </p:nvSpPr>
        <p:spPr>
          <a:xfrm>
            <a:off x="636909" y="4510201"/>
            <a:ext cx="4335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u="sng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w boundary condition for collateral check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014C8D5-CFA2-8186-4178-9DE8897D2647}"/>
              </a:ext>
            </a:extLst>
          </p:cNvPr>
          <p:cNvSpPr txBox="1"/>
          <p:nvPr/>
        </p:nvSpPr>
        <p:spPr>
          <a:xfrm>
            <a:off x="636909" y="1594590"/>
            <a:ext cx="22327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u="sng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timization func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FE3344E-565B-C794-97C3-C95873897A49}"/>
              </a:ext>
            </a:extLst>
          </p:cNvPr>
          <p:cNvSpPr/>
          <p:nvPr/>
        </p:nvSpPr>
        <p:spPr>
          <a:xfrm>
            <a:off x="413388" y="2527583"/>
            <a:ext cx="2016598" cy="240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FC56A90-B1D4-E25D-2557-AEE012BBB43F}"/>
              </a:ext>
            </a:extLst>
          </p:cNvPr>
          <p:cNvSpPr txBox="1"/>
          <p:nvPr/>
        </p:nvSpPr>
        <p:spPr>
          <a:xfrm>
            <a:off x="636909" y="2408882"/>
            <a:ext cx="21235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u="sng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oundary condi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9C3AC3C-834C-13F9-BC66-C93891C55481}"/>
                  </a:ext>
                </a:extLst>
              </p:cNvPr>
              <p:cNvSpPr txBox="1"/>
              <p:nvPr/>
            </p:nvSpPr>
            <p:spPr>
              <a:xfrm>
                <a:off x="1964831" y="1514589"/>
                <a:ext cx="6096000" cy="5729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GB" sz="140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GB" sz="1400">
                              <a:latin typeface="Cambria Math" panose="02040503050406030204" pitchFamily="18" charset="0"/>
                            </a:rPr>
                            <m:t>max</m:t>
                          </m:r>
                        </m:fName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en-GB" sz="1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subSup"/>
                                  <m:supHide m:val="on"/>
                                  <m:ctrlP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en-GB" sz="140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en-GB" sz="140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/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en-GB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  <m:t>𝑝</m:t>
                                          </m:r>
                                        </m:e>
                                        <m:sub>
                                          <m: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  <m:r>
                                            <a:rPr lang="en-GB" sz="1400" i="0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  <m:r>
                                            <a:rPr lang="en-GB" sz="1400" i="0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</m:e>
                                      </m:d>
                                      <m:r>
                                        <a:rPr lang="en-GB" sz="1400" i="0">
                                          <a:latin typeface="Cambria Math" panose="02040503050406030204" pitchFamily="18" charset="0"/>
                                        </a:rPr>
                                        <m:t>⋅</m:t>
                                      </m:r>
                                      <m:sSub>
                                        <m:sSubPr>
                                          <m:ctrlP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  <m:t>𝑑</m:t>
                                          </m:r>
                                        </m:e>
                                        <m:sub>
                                          <m: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  <m:r>
                                            <a:rPr lang="en-GB" sz="1400" i="0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  <m:r>
                                            <a:rPr lang="en-GB" sz="1400" i="0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en-GB" sz="1400" i="1"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</m:e>
                                      </m:d>
                                    </m:e>
                                  </m:d>
                                </m:e>
                              </m:nary>
                            </m:e>
                          </m:d>
                        </m:e>
                      </m:func>
                    </m:oMath>
                  </m:oMathPara>
                </a14:m>
                <a:endParaRPr lang="en-GB" sz="1400"/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9C3AC3C-834C-13F9-BC66-C93891C554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4831" y="1514589"/>
                <a:ext cx="6096000" cy="572914"/>
              </a:xfrm>
              <a:prstGeom prst="rect">
                <a:avLst/>
              </a:prstGeom>
              <a:blipFill>
                <a:blip r:embed="rId4"/>
                <a:stretch>
                  <a:fillRect t="-122340" b="-18829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873EC457-B64A-AFE4-6301-7C60737108FA}"/>
                  </a:ext>
                </a:extLst>
              </p:cNvPr>
              <p:cNvSpPr txBox="1"/>
              <p:nvPr/>
            </p:nvSpPr>
            <p:spPr>
              <a:xfrm>
                <a:off x="1964831" y="2455101"/>
                <a:ext cx="6096000" cy="5146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limLoc m:val="subSup"/>
                          <m:supHide m:val="on"/>
                          <m:ctrlPr>
                            <a:rPr lang="en-GB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GB" sz="14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n-GB" sz="14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/>
                        <m:e>
                          <m:d>
                            <m:dPr>
                              <m:ctrlPr>
                                <a:rPr lang="en-GB" sz="1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𝑃𝑇𝐷</m:t>
                              </m:r>
                              <m:sSubSup>
                                <m:sSubSupPr>
                                  <m:ctrlP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en-GB" sz="140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en-GB" sz="140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𝑐𝑛𝑒𝑐</m:t>
                                  </m:r>
                                </m:sub>
                                <m:sup>
                                  <m:r>
                                    <a:rPr lang="en-GB" sz="1400" i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</m:sup>
                              </m:sSubSup>
                              <m:r>
                                <a:rPr lang="en-GB" sz="1400" i="0">
                                  <a:latin typeface="Cambria Math" panose="02040503050406030204" pitchFamily="18" charset="0"/>
                                </a:rPr>
                                <m:t>⋅</m:t>
                              </m:r>
                              <m:sSub>
                                <m:sSubPr>
                                  <m:ctrlP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en-GB" sz="140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en-GB" sz="140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</m:d>
                            </m:e>
                          </m:d>
                        </m:e>
                      </m:nary>
                      <m:r>
                        <a:rPr lang="en-GB" sz="1400" i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GB" sz="1400" i="1">
                          <a:latin typeface="Cambria Math" panose="02040503050406030204" pitchFamily="18" charset="0"/>
                        </a:rPr>
                        <m:t>𝑅𝐴</m:t>
                      </m:r>
                      <m:sSub>
                        <m:sSubPr>
                          <m:ctrlPr>
                            <a:rPr lang="en-GB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𝑐𝑛𝑒𝑐</m:t>
                          </m:r>
                        </m:sub>
                      </m:sSub>
                    </m:oMath>
                  </m:oMathPara>
                </a14:m>
                <a:endParaRPr lang="en-GB" sz="1400"/>
              </a:p>
            </p:txBody>
          </p:sp>
        </mc:Choice>
        <mc:Fallback xmlns=""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873EC457-B64A-AFE4-6301-7C60737108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4831" y="2455101"/>
                <a:ext cx="6096000" cy="514693"/>
              </a:xfrm>
              <a:prstGeom prst="rect">
                <a:avLst/>
              </a:prstGeom>
              <a:blipFill>
                <a:blip r:embed="rId5"/>
                <a:stretch>
                  <a:fillRect t="-148810" b="-2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589A48D8-2C1B-9EF4-E37C-694E15FB7D30}"/>
                  </a:ext>
                </a:extLst>
              </p:cNvPr>
              <p:cNvSpPr txBox="1"/>
              <p:nvPr/>
            </p:nvSpPr>
            <p:spPr>
              <a:xfrm>
                <a:off x="1619081" y="4822772"/>
                <a:ext cx="6787500" cy="6630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de-DE" sz="14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fr-FR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fr-FR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FR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fr-FR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FR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fr-FR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∈ </m:t>
                          </m:r>
                          <m:sSub>
                            <m:sSubPr>
                              <m:ctrlPr>
                                <a:rPr lang="de-DE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𝐵𝑖𝑑𝑠</m:t>
                              </m:r>
                            </m:e>
                            <m:sub>
                              <m:r>
                                <a:rPr lang="en-US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𝑚𝑝</m:t>
                              </m:r>
                            </m:sub>
                          </m:sSub>
                          <m:r>
                            <a:rPr lang="en-US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de-DE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fr-FR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sub>
                          </m:sSub>
                          <m:d>
                            <m:dPr>
                              <m:ctrlPr>
                                <a:rPr lang="de-DE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fr-FR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fr-FR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fr-FR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fr-FR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d>
                          <m:r>
                            <a:rPr lang="fr-FR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140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⋅</m:t>
                          </m:r>
                          <m:r>
                            <a:rPr lang="fr-FR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𝑐𝑝</m:t>
                          </m:r>
                          <m:sSub>
                            <m:sSubPr>
                              <m:ctrlPr>
                                <a:rPr lang="de-DE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d>
                                <m:dPr>
                                  <m:ctrlPr>
                                    <a:rPr lang="de-DE" sz="1400" i="1">
                                      <a:solidFill>
                                        <a:srgbClr val="00B05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400" i="1">
                                      <a:solidFill>
                                        <a:srgbClr val="00B050"/>
                                      </a:solidFill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en-US" sz="1400" i="1">
                                      <a:solidFill>
                                        <a:srgbClr val="00B050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sz="1400" i="1">
                                      <a:solidFill>
                                        <a:srgbClr val="00B050"/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d>
                            </m:e>
                            <m:sub>
                              <m:r>
                                <a:rPr lang="en-US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𝑀𝑇𝑈</m:t>
                              </m:r>
                            </m:sub>
                          </m:sSub>
                          <m:r>
                            <a:rPr lang="en-US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≤  </m:t>
                          </m:r>
                          <m:sSub>
                            <m:sSubPr>
                              <m:ctrlPr>
                                <a:rPr lang="de-DE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𝐶𝑜𝑙𝑙𝑎𝑡𝑒𝑟𝑎𝑙𝐵𝑢𝑑𝑔𝑒𝑡</m:t>
                              </m:r>
                            </m:e>
                            <m:sub>
                              <m:r>
                                <a:rPr lang="en-US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𝑚𝑝</m:t>
                              </m:r>
                            </m:sub>
                          </m:sSub>
                          <m:r>
                            <a:rPr lang="fr-FR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sSub>
                            <m:sSubPr>
                              <m:ctrlPr>
                                <a:rPr lang="de-DE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en-US" sz="14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𝑀𝑇𝑈</m:t>
                              </m:r>
                            </m:sub>
                          </m:sSub>
                          <m:r>
                            <a:rPr lang="fr-FR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    </m:t>
                          </m:r>
                        </m:e>
                      </m:nary>
                    </m:oMath>
                  </m:oMathPara>
                </a14:m>
                <a:endParaRPr lang="en-GB" sz="140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589A48D8-2C1B-9EF4-E37C-694E15FB7D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9081" y="4822772"/>
                <a:ext cx="6787500" cy="663067"/>
              </a:xfrm>
              <a:prstGeom prst="rect">
                <a:avLst/>
              </a:prstGeom>
              <a:blipFill>
                <a:blip r:embed="rId6"/>
                <a:stretch>
                  <a:fillRect t="-107339" b="-1467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91975119-622F-99B5-CAD5-6DE12D63F7E1}"/>
                  </a:ext>
                </a:extLst>
              </p:cNvPr>
              <p:cNvSpPr txBox="1"/>
              <p:nvPr/>
            </p:nvSpPr>
            <p:spPr>
              <a:xfrm>
                <a:off x="1964831" y="4112489"/>
                <a:ext cx="6096000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smtClean="0"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en-GB" sz="1400" i="0">
                          <a:latin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n-GB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𝑎</m:t>
                          </m:r>
                        </m:sub>
                      </m:sSub>
                      <m:d>
                        <m:dPr>
                          <m:ctrlPr>
                            <a:rPr lang="en-GB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GB" sz="14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n-GB" sz="14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en-GB" sz="1400" i="0">
                          <a:latin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n-GB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400" i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𝑟</m:t>
                          </m:r>
                        </m:sub>
                      </m:sSub>
                      <m:d>
                        <m:dPr>
                          <m:ctrlPr>
                            <a:rPr lang="en-GB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GB" sz="14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n-GB" sz="14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en-GB" sz="1400" i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GB" sz="1400" i="0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GB" sz="140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𝑓𝑖𝑙𝑡𝑒𝑟𝑒𝑑</m:t>
                      </m:r>
                      <m:d>
                        <m:dPr>
                          <m:ctrlPr>
                            <a:rPr lang="en-GB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GB" sz="1400" i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n-GB" sz="1400" i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GB" sz="14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</m:oMath>
                  </m:oMathPara>
                </a14:m>
                <a:endParaRPr lang="en-GB" sz="1400"/>
              </a:p>
            </p:txBody>
          </p:sp>
        </mc:Choice>
        <mc:Fallback xmlns=""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91975119-622F-99B5-CAD5-6DE12D63F7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4831" y="4112489"/>
                <a:ext cx="6096000" cy="307777"/>
              </a:xfrm>
              <a:prstGeom prst="rect">
                <a:avLst/>
              </a:prstGeom>
              <a:blipFill>
                <a:blip r:embed="rId7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6637593E-7263-D125-330E-4896017E1583}"/>
                  </a:ext>
                </a:extLst>
              </p:cNvPr>
              <p:cNvSpPr txBox="1"/>
              <p:nvPr/>
            </p:nvSpPr>
            <p:spPr>
              <a:xfrm>
                <a:off x="1964831" y="3118848"/>
                <a:ext cx="6096000" cy="49064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 smtClean="0">
                          <a:latin typeface="Cambria Math" panose="02040503050406030204" pitchFamily="18" charset="0"/>
                        </a:rPr>
                        <m:t>𝑐𝑝</m:t>
                      </m:r>
                      <m:sSub>
                        <m:sSubPr>
                          <m:ctrlPr>
                            <a:rPr lang="en-GB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ctrlPr>
                                <a:rPr lang="en-GB" sz="1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GB" sz="1400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d>
                        </m:e>
                        <m:sub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𝑀𝑇𝑈</m:t>
                          </m:r>
                        </m:sub>
                      </m:sSub>
                      <m:r>
                        <a:rPr lang="en-GB" sz="1400" i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subSup"/>
                          <m:supHide m:val="on"/>
                          <m:ctrlPr>
                            <a:rPr lang="en-GB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𝑐𝑛𝑒𝑐</m:t>
                          </m:r>
                        </m:sub>
                        <m:sup/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𝑃𝑇𝐷</m:t>
                          </m:r>
                          <m:sSubSup>
                            <m:sSubSupPr>
                              <m:ctrlPr>
                                <a:rPr lang="en-GB" sz="1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GB" sz="1400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en-GB" sz="1400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𝑐𝑛𝑒𝑐</m:t>
                              </m:r>
                            </m:sub>
                            <m:sup>
                              <m:r>
                                <a:rPr lang="en-GB" sz="140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bSup>
                        </m:e>
                      </m:nary>
                      <m:r>
                        <a:rPr lang="en-GB" sz="1400" i="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GB" sz="1400" i="1">
                          <a:latin typeface="Cambria Math" panose="02040503050406030204" pitchFamily="18" charset="0"/>
                        </a:rPr>
                        <m:t>𝑆</m:t>
                      </m:r>
                      <m:sSub>
                        <m:sSubPr>
                          <m:ctrlPr>
                            <a:rPr lang="en-GB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𝑐𝑛𝑒𝑐</m:t>
                          </m:r>
                        </m:sub>
                      </m:sSub>
                    </m:oMath>
                  </m:oMathPara>
                </a14:m>
                <a:endParaRPr lang="en-GB" sz="1400"/>
              </a:p>
            </p:txBody>
          </p:sp>
        </mc:Choice>
        <mc:Fallback xmlns="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6637593E-7263-D125-330E-4896017E15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4831" y="3118848"/>
                <a:ext cx="6096000" cy="490647"/>
              </a:xfrm>
              <a:prstGeom prst="rect">
                <a:avLst/>
              </a:prstGeom>
              <a:blipFill>
                <a:blip r:embed="rId8"/>
                <a:stretch>
                  <a:fillRect t="-156250" b="-2262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Textfeld 28">
            <a:extLst>
              <a:ext uri="{FF2B5EF4-FFF2-40B4-BE49-F238E27FC236}">
                <a16:creationId xmlns:a16="http://schemas.microsoft.com/office/drawing/2014/main" id="{5A65D492-FD7D-C9A8-8604-CB6127A261C1}"/>
              </a:ext>
            </a:extLst>
          </p:cNvPr>
          <p:cNvSpPr txBox="1"/>
          <p:nvPr/>
        </p:nvSpPr>
        <p:spPr>
          <a:xfrm>
            <a:off x="636909" y="3739293"/>
            <a:ext cx="29135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u="sng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justed boundary condition</a:t>
            </a:r>
          </a:p>
        </p:txBody>
      </p:sp>
      <p:sp>
        <p:nvSpPr>
          <p:cNvPr id="30" name="Geschweifte Klammer rechts 29">
            <a:extLst>
              <a:ext uri="{FF2B5EF4-FFF2-40B4-BE49-F238E27FC236}">
                <a16:creationId xmlns:a16="http://schemas.microsoft.com/office/drawing/2014/main" id="{B9FD719A-860E-28C1-E1F8-2EA068AD016D}"/>
              </a:ext>
            </a:extLst>
          </p:cNvPr>
          <p:cNvSpPr/>
          <p:nvPr/>
        </p:nvSpPr>
        <p:spPr>
          <a:xfrm>
            <a:off x="7325033" y="1566504"/>
            <a:ext cx="275943" cy="2123167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1F5B730-6D20-F0CD-0357-6DDB450973C0}"/>
              </a:ext>
            </a:extLst>
          </p:cNvPr>
          <p:cNvSpPr txBox="1"/>
          <p:nvPr/>
        </p:nvSpPr>
        <p:spPr>
          <a:xfrm>
            <a:off x="7704862" y="2431915"/>
            <a:ext cx="16675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 adjustment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B6469483-8B5A-12D1-4303-02B69C74DBE6}"/>
                  </a:ext>
                </a:extLst>
              </p:cNvPr>
              <p:cNvSpPr txBox="1"/>
              <p:nvPr/>
            </p:nvSpPr>
            <p:spPr>
              <a:xfrm>
                <a:off x="8380209" y="3100418"/>
                <a:ext cx="3296803" cy="232358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1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  <m:d>
                      <m:dPr>
                        <m:ctrlPr>
                          <a:rPr lang="de-DE" sz="11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</m:d>
                  </m:oMath>
                </a14:m>
                <a:r>
                  <a:rPr lang="en-US" sz="1100" b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:</a:t>
                </a:r>
                <a:r>
                  <a:rPr lang="en-US" sz="11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bid price for bid </a:t>
                </a:r>
                <a14:m>
                  <m:oMath xmlns:m="http://schemas.openxmlformats.org/officeDocument/2006/math">
                    <m:r>
                      <a:rPr lang="en-US" sz="1100" i="1"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r>
                  <a:rPr lang="en-US" sz="11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[EUR/MW]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fr-FR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𝑑</m:t>
                        </m:r>
                      </m:e>
                      <m:sub>
                        <m:r>
                          <a:rPr lang="fr-FR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𝑎</m:t>
                        </m:r>
                      </m:sub>
                    </m:sSub>
                    <m:d>
                      <m:dPr>
                        <m:ctrlPr>
                          <a:rPr lang="de-DE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fr-FR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𝑥</m:t>
                        </m:r>
                        <m:r>
                          <a:rPr lang="en-US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,</m:t>
                        </m:r>
                        <m:r>
                          <a:rPr lang="fr-FR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𝑦</m:t>
                        </m:r>
                        <m:r>
                          <a:rPr lang="en-US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,</m:t>
                        </m:r>
                        <m:r>
                          <a:rPr lang="fr-FR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𝑏</m:t>
                        </m:r>
                      </m:e>
                    </m:d>
                  </m:oMath>
                </a14:m>
                <a:r>
                  <a:rPr lang="en-US" sz="11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: accepted quantity for bid </a:t>
                </a:r>
                <a14:m>
                  <m:oMath xmlns:m="http://schemas.openxmlformats.org/officeDocument/2006/math">
                    <m:r>
                      <a:rPr lang="en-US" sz="1100" i="1">
                        <a:solidFill>
                          <a:srgbClr val="1F1F1F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rPr>
                      <m:t>𝑏</m:t>
                    </m:r>
                  </m:oMath>
                </a14:m>
                <a:r>
                  <a:rPr lang="en-US" sz="11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[MW]</a:t>
                </a:r>
                <a:endParaRPr lang="de-DE" sz="11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14:m>
                  <m:oMath xmlns:m="http://schemas.openxmlformats.org/officeDocument/2006/math">
                    <m:r>
                      <a:rPr lang="fr-FR" sz="1100" i="1">
                        <a:latin typeface="Cambria Math" panose="02040503050406030204" pitchFamily="18" charset="0"/>
                      </a:rPr>
                      <m:t>𝑅𝐴</m:t>
                    </m:r>
                    <m:sSub>
                      <m:sSubPr>
                        <m:ctrlPr>
                          <a:rPr lang="de-DE" sz="11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𝑐𝑛𝑒𝑐</m:t>
                        </m:r>
                      </m:sub>
                    </m:sSub>
                  </m:oMath>
                </a14:m>
                <a:r>
                  <a:rPr lang="en-US" sz="11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: Remaining Available Margin of a CNEC [MW]</a:t>
                </a:r>
                <a:endParaRPr lang="de-DE" sz="11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14:m>
                  <m:oMath xmlns:m="http://schemas.openxmlformats.org/officeDocument/2006/math">
                    <m:r>
                      <a:rPr lang="en-US" sz="1100" i="1">
                        <a:latin typeface="Cambria Math" panose="02040503050406030204" pitchFamily="18" charset="0"/>
                      </a:rPr>
                      <m:t>𝑃𝑇𝐷</m:t>
                    </m:r>
                    <m:sSubSup>
                      <m:sSubSupPr>
                        <m:ctrlPr>
                          <a:rPr lang="de-DE" sz="1100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𝑐𝑛𝑒𝑐</m:t>
                        </m:r>
                      </m:sub>
                      <m:sup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</m:oMath>
                </a14:m>
                <a:r>
                  <a:rPr lang="en-US" sz="11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: positive zone-to-zone PTDF of bidding zones x and y, at a CNEC</a:t>
                </a:r>
              </a:p>
              <a:p>
                <a14:m>
                  <m:oMath xmlns:m="http://schemas.openxmlformats.org/officeDocument/2006/math">
                    <m:r>
                      <a:rPr lang="en-US" sz="1100" i="1">
                        <a:solidFill>
                          <a:srgbClr val="1F1F1F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rPr>
                      <m:t>𝑆</m:t>
                    </m:r>
                    <m:sSub>
                      <m:sSubPr>
                        <m:ctrlPr>
                          <a:rPr lang="de-DE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𝑃</m:t>
                        </m:r>
                      </m:e>
                      <m:sub>
                        <m:r>
                          <a:rPr lang="en-US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𝑐𝑛𝑒𝑐</m:t>
                        </m:r>
                      </m:sub>
                    </m:sSub>
                    <m:r>
                      <a:rPr lang="en-US" sz="1100" i="1">
                        <a:solidFill>
                          <a:srgbClr val="1F1F1F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rPr>
                      <m:t>: </m:t>
                    </m:r>
                  </m:oMath>
                </a14:m>
                <a:r>
                  <a:rPr lang="en-US" sz="1100">
                    <a:solidFill>
                      <a:srgbClr val="1F1F1F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shadow price (dual value) of a congested CNEC</a:t>
                </a:r>
                <a:endParaRPr lang="en-US" sz="11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1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  <m:sub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𝑟</m:t>
                        </m:r>
                      </m:sub>
                    </m:sSub>
                    <m:d>
                      <m:dPr>
                        <m:ctrlPr>
                          <a:rPr lang="de-DE" sz="11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fr-FR" sz="1100" i="1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</m:d>
                    <m:r>
                      <a:rPr lang="en-US" sz="1100" i="1">
                        <a:latin typeface="Cambria Math" panose="02040503050406030204" pitchFamily="18" charset="0"/>
                      </a:rPr>
                      <m:t>: </m:t>
                    </m:r>
                  </m:oMath>
                </a14:m>
                <a:r>
                  <a:rPr lang="en-US" sz="11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requested quantity for bid </a:t>
                </a:r>
                <a14:m>
                  <m:oMath xmlns:m="http://schemas.openxmlformats.org/officeDocument/2006/math">
                    <m:r>
                      <a:rPr lang="en-US" sz="1100" i="1"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r>
                  <a:rPr lang="en-US" sz="11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[MW]</a:t>
                </a:r>
                <a:endParaRPr lang="de-DE" sz="11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14:m>
                  <m:oMath xmlns:m="http://schemas.openxmlformats.org/officeDocument/2006/math">
                    <m:r>
                      <a:rPr lang="fr-FR" sz="1100" i="1">
                        <a:solidFill>
                          <a:srgbClr val="1F1F1F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rPr>
                      <m:t>𝑓𝑖𝑙𝑡𝑒𝑟𝑒𝑑</m:t>
                    </m:r>
                    <m:d>
                      <m:dPr>
                        <m:ctrlPr>
                          <a:rPr lang="de-DE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fr-FR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𝑥</m:t>
                        </m:r>
                        <m:r>
                          <a:rPr lang="en-US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,</m:t>
                        </m:r>
                        <m:r>
                          <a:rPr lang="fr-FR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𝑦</m:t>
                        </m:r>
                        <m:r>
                          <a:rPr lang="en-US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,</m:t>
                        </m:r>
                        <m:r>
                          <a:rPr lang="fr-FR" sz="1100" i="1">
                            <a:solidFill>
                              <a:srgbClr val="1F1F1F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𝑏</m:t>
                        </m:r>
                      </m:e>
                    </m:d>
                    <m:r>
                      <a:rPr lang="en-US" sz="1100" i="1">
                        <a:solidFill>
                          <a:srgbClr val="1F1F1F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rPr>
                      <m:t> </m:t>
                    </m:r>
                  </m:oMath>
                </a14:m>
                <a:r>
                  <a:rPr lang="en-US" sz="1100">
                    <a:solidFill>
                      <a:srgbClr val="1F1F1F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: Bid filtering status </a:t>
                </a:r>
                <a:r>
                  <a:rPr lang="en-US" sz="11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for bid </a:t>
                </a:r>
                <a14:m>
                  <m:oMath xmlns:m="http://schemas.openxmlformats.org/officeDocument/2006/math">
                    <m:r>
                      <a:rPr lang="en-US" sz="1100" i="1">
                        <a:solidFill>
                          <a:srgbClr val="1F1F1F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rPr>
                      <m:t>𝑏</m:t>
                    </m:r>
                  </m:oMath>
                </a14:m>
                <a:r>
                  <a:rPr lang="en-US" sz="1100">
                    <a:solidFill>
                      <a:srgbClr val="1F1F1F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,</a:t>
                </a:r>
                <a:br>
                  <a:rPr lang="en-US" sz="1100">
                    <a:solidFill>
                      <a:srgbClr val="1F1F1F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100">
                    <a:solidFill>
                      <a:srgbClr val="1F1F1F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= 1 if the bid is filtered (activated = kept),</a:t>
                </a:r>
                <a:br>
                  <a:rPr lang="en-US" sz="1100">
                    <a:solidFill>
                      <a:srgbClr val="1F1F1F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1100">
                    <a:solidFill>
                      <a:srgbClr val="1F1F1F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= 0 if the bid is not filtered (rejected = fully discarded)</a:t>
                </a:r>
                <a:endParaRPr lang="de-DE" sz="11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1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𝐵𝑖𝑑𝑠</m:t>
                        </m:r>
                      </m:e>
                      <m:sub>
                        <m:r>
                          <a:rPr lang="en-US" sz="1100" i="1">
                            <a:latin typeface="Cambria Math" panose="02040503050406030204" pitchFamily="18" charset="0"/>
                          </a:rPr>
                          <m:t>𝑚𝑝</m:t>
                        </m:r>
                      </m:sub>
                    </m:sSub>
                  </m:oMath>
                </a14:m>
                <a:r>
                  <a:rPr lang="en-US" sz="11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:  Set of bids of market participant </a:t>
                </a:r>
                <a:endParaRPr lang="de-DE" sz="11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14:m>
                  <m:oMath xmlns:m="http://schemas.openxmlformats.org/officeDocument/2006/math">
                    <m:r>
                      <a:rPr lang="en-US" sz="1100" i="1">
                        <a:solidFill>
                          <a:srgbClr val="1F1F1F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rPr>
                      <m:t>𝑐𝑝</m:t>
                    </m:r>
                    <m:sSub>
                      <m:sSubPr>
                        <m:ctrlPr>
                          <a:rPr lang="de-DE" sz="1100" i="1">
                            <a:solidFill>
                              <a:srgbClr val="1F1F1F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de-DE" sz="1100" i="1">
                                <a:solidFill>
                                  <a:srgbClr val="1F1F1F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Arial" panose="020B0604020202020204" pitchFamily="34" charset="0"/>
                              </a:rPr>
                            </m:ctrlPr>
                          </m:dPr>
                          <m:e>
                            <m:r>
                              <a:rPr lang="en-US" sz="1100" i="1">
                                <a:solidFill>
                                  <a:srgbClr val="1F1F1F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  <m:r>
                              <a:rPr lang="en-US" sz="1100" i="1">
                                <a:solidFill>
                                  <a:srgbClr val="1F1F1F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Arial" panose="020B0604020202020204" pitchFamily="34" charset="0"/>
                              </a:rPr>
                              <m:t>,</m:t>
                            </m:r>
                            <m:r>
                              <a:rPr lang="en-US" sz="1100" i="1">
                                <a:solidFill>
                                  <a:srgbClr val="1F1F1F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Arial" panose="020B0604020202020204" pitchFamily="34" charset="0"/>
                              </a:rPr>
                              <m:t>𝑦</m:t>
                            </m:r>
                          </m:e>
                        </m:d>
                      </m:e>
                      <m:sub>
                        <m:r>
                          <a:rPr lang="en-US" sz="1100" i="1">
                            <a:solidFill>
                              <a:srgbClr val="1F1F1F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m:t>𝑀𝑇𝑈</m:t>
                        </m:r>
                      </m:sub>
                    </m:sSub>
                  </m:oMath>
                </a14:m>
                <a:r>
                  <a:rPr lang="en-US" sz="1100">
                    <a:solidFill>
                      <a:srgbClr val="1F1F1F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: clearing price at a border x-&gt;y, per market time unit (month, year)</a:t>
                </a:r>
                <a:r>
                  <a:rPr lang="en-US" sz="110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endParaRPr lang="de-DE" sz="11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B6469483-8B5A-12D1-4303-02B69C74DB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0209" y="3100418"/>
                <a:ext cx="3296803" cy="2323585"/>
              </a:xfrm>
              <a:prstGeom prst="rect">
                <a:avLst/>
              </a:prstGeom>
              <a:blipFill>
                <a:blip r:embed="rId9"/>
                <a:stretch>
                  <a:fillRect b="-787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650609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00B5A5-9375-2FBA-D200-8FA7B3BA0E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B163A-9CB3-1726-EE05-E44A93B98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llateral Improv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8FDB44-2E8C-4D99-086D-B69B917871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>
                <a:latin typeface="Calibri"/>
                <a:ea typeface="Calibri"/>
                <a:cs typeface="Calibri"/>
              </a:rPr>
              <a:t>Foreseen Approach for Determination of blocked Collaterals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E6B78C70-BB0C-BE44-3501-A70CDD5BA933}"/>
              </a:ext>
            </a:extLst>
          </p:cNvPr>
          <p:cNvSpPr txBox="1">
            <a:spLocks/>
          </p:cNvSpPr>
          <p:nvPr/>
        </p:nvSpPr>
        <p:spPr>
          <a:xfrm>
            <a:off x="382585" y="1566504"/>
            <a:ext cx="11616268" cy="465937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endParaRPr lang="en-GB" b="0" i="0" u="none" strike="noStrike" kern="1200" cap="none" spc="0" normalizeH="0" baseline="0" noProof="0">
              <a:ln>
                <a:noFill/>
              </a:ln>
              <a:solidFill>
                <a:srgbClr val="3A3A3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48612C3F-79EC-52A3-092A-7AEBC533C4CA}"/>
              </a:ext>
            </a:extLst>
          </p:cNvPr>
          <p:cNvSpPr txBox="1">
            <a:spLocks/>
          </p:cNvSpPr>
          <p:nvPr/>
        </p:nvSpPr>
        <p:spPr>
          <a:xfrm>
            <a:off x="382585" y="1566504"/>
            <a:ext cx="11158251" cy="465937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Question</a:t>
            </a: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: What amount of Collaterals should be blocked for LT-FB auction as Outstanding Payment Obligation?</a:t>
            </a:r>
          </a:p>
          <a:p>
            <a:pPr>
              <a:defRPr/>
            </a:pPr>
            <a:endParaRPr lang="en-US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r>
              <a:rPr lang="en-US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Foreseen Approach</a:t>
            </a: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MPs are enabled to define </a:t>
            </a:r>
            <a:r>
              <a:rPr lang="en-US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Reserved Collaterals </a:t>
            </a: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during bidding period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If MP defines reserved collaterals with</a:t>
            </a:r>
            <a:r>
              <a:rPr lang="en-US" b="0" i="1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 Reserved Collaterals ≤ Credit Limit</a:t>
            </a:r>
            <a:br>
              <a:rPr lang="en-US" b="0">
                <a:latin typeface="Calibri"/>
                <a:ea typeface="Calibri"/>
                <a:cs typeface="Calibri"/>
              </a:rPr>
            </a:br>
            <a:r>
              <a:rPr lang="en-US">
                <a:solidFill>
                  <a:srgbClr val="3A3A3F"/>
                </a:solidFill>
                <a:latin typeface="Calibri"/>
                <a:ea typeface="Calibri"/>
                <a:cs typeface="Calibri"/>
                <a:sym typeface="Wingdings" panose="05000000000000000000" pitchFamily="2" charset="2"/>
              </a:rPr>
              <a:t> Reserved Collaterals will be blocked for LT-FB auction</a:t>
            </a:r>
            <a:endParaRPr lang="en-US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If MP does not define reserved collaterals: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SAP calculates Maximum Payment Obligation based on all bids </a:t>
            </a:r>
            <a:r>
              <a:rPr lang="en-US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at gate closure submitted</a:t>
            </a: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 for LT-FB auction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If </a:t>
            </a:r>
            <a:r>
              <a:rPr lang="en-US" i="1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Maximum Payment Obligation ≤ Credit Limit</a:t>
            </a:r>
            <a:r>
              <a:rPr lang="en-US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:</a:t>
            </a:r>
            <a:br>
              <a:rPr lang="en-US">
                <a:latin typeface="Calibri"/>
                <a:ea typeface="Calibri"/>
                <a:cs typeface="Calibri"/>
              </a:rPr>
            </a:br>
            <a:r>
              <a:rPr lang="en-US" b="1">
                <a:solidFill>
                  <a:srgbClr val="3A3A3F"/>
                </a:solidFill>
                <a:latin typeface="Calibri"/>
                <a:ea typeface="Calibri"/>
                <a:cs typeface="Calibri"/>
                <a:sym typeface="Wingdings" panose="05000000000000000000" pitchFamily="2" charset="2"/>
              </a:rPr>
              <a:t> </a:t>
            </a:r>
            <a:r>
              <a:rPr lang="en-US" b="1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Maximum Payment Obligation will be blocked for LT-FB auction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If </a:t>
            </a:r>
            <a:r>
              <a:rPr lang="en-US" i="1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Maximum Payment Obligation </a:t>
            </a:r>
            <a:r>
              <a:rPr lang="en-US" b="0" i="1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&gt; Credit Limit</a:t>
            </a: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:</a:t>
            </a:r>
            <a:br>
              <a:rPr lang="en-US">
                <a:latin typeface="Calibri"/>
                <a:ea typeface="Calibri"/>
                <a:cs typeface="Calibri"/>
              </a:rPr>
            </a:br>
            <a:r>
              <a:rPr lang="en-US" b="1">
                <a:solidFill>
                  <a:srgbClr val="3A3A3F"/>
                </a:solidFill>
                <a:latin typeface="Calibri"/>
                <a:ea typeface="Calibri"/>
                <a:cs typeface="Calibri"/>
                <a:sym typeface="Wingdings" panose="05000000000000000000" pitchFamily="2" charset="2"/>
              </a:rPr>
              <a:t> Credit Limit will be blocked for LT-FB auction</a:t>
            </a:r>
            <a:endParaRPr lang="en-US" b="1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endParaRPr lang="en-GB" b="0" i="0" u="none" strike="noStrike" kern="1200" cap="none" spc="0" normalizeH="0" baseline="0" noProof="0">
              <a:ln>
                <a:noFill/>
              </a:ln>
              <a:solidFill>
                <a:srgbClr val="3A3A3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65A83F0-2563-E78B-0359-844E9569E97D}"/>
              </a:ext>
            </a:extLst>
          </p:cNvPr>
          <p:cNvSpPr/>
          <p:nvPr/>
        </p:nvSpPr>
        <p:spPr>
          <a:xfrm>
            <a:off x="376101" y="5649217"/>
            <a:ext cx="11300911" cy="6434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eseen Approach aims at giving MPs the possibility to self-determine blocked collaterals.</a:t>
            </a:r>
            <a:br>
              <a:rPr lang="en-US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edback from MPs to this foreseen approach highly appreciated.</a:t>
            </a:r>
          </a:p>
        </p:txBody>
      </p:sp>
    </p:spTree>
    <p:extLst>
      <p:ext uri="{BB962C8B-B14F-4D97-AF65-F5344CB8AC3E}">
        <p14:creationId xmlns:p14="http://schemas.microsoft.com/office/powerpoint/2010/main" val="33823051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E98891-2824-9900-39B6-ED1B96FFCE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A8AB08-8B36-B22C-A299-B44570E72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llateral Improv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153F6C-C375-E227-2FEF-40A5A49A6B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>
                <a:latin typeface="Calibri"/>
                <a:ea typeface="Calibri"/>
                <a:cs typeface="Calibri"/>
              </a:rPr>
              <a:t>Proof of Concept Results: Final vs. Maximum Payment Obligation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1A4BC53-73DC-5174-24B7-3EC60488F1E2}"/>
              </a:ext>
            </a:extLst>
          </p:cNvPr>
          <p:cNvSpPr txBox="1">
            <a:spLocks/>
          </p:cNvSpPr>
          <p:nvPr/>
        </p:nvSpPr>
        <p:spPr>
          <a:xfrm>
            <a:off x="534985" y="1718904"/>
            <a:ext cx="11012779" cy="465937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b="0" noProof="1">
              <a:latin typeface="Calibri"/>
              <a:ea typeface="Calibri"/>
              <a:cs typeface="Calibri"/>
            </a:endParaRPr>
          </a:p>
          <a:p>
            <a:pPr>
              <a:defRPr/>
            </a:pPr>
            <a:endParaRPr lang="en-GB" b="0" noProof="1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endParaRPr lang="en-GB" b="0" i="0" u="none" strike="noStrike" kern="1200" cap="none" spc="0" normalizeH="0" baseline="0" noProof="1">
              <a:ln>
                <a:noFill/>
              </a:ln>
              <a:solidFill>
                <a:srgbClr val="3A3A3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6" name="Grafik 5" descr="Ein Bild, das Text, Screenshot, Schrift, Reihe enthält.&#10;&#10;KI-generierte Inhalte können fehlerhaft sein.">
            <a:extLst>
              <a:ext uri="{FF2B5EF4-FFF2-40B4-BE49-F238E27FC236}">
                <a16:creationId xmlns:a16="http://schemas.microsoft.com/office/drawing/2014/main" id="{1D8BA0E9-9271-8449-E230-595A24931C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580" y="2778500"/>
            <a:ext cx="9336054" cy="316362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60137830-60A8-FB5B-CAA2-F2F5BE1DC8AE}"/>
                  </a:ext>
                </a:extLst>
              </p:cNvPr>
              <p:cNvSpPr txBox="1"/>
              <p:nvPr/>
            </p:nvSpPr>
            <p:spPr>
              <a:xfrm>
                <a:off x="4853555" y="1483854"/>
                <a:ext cx="3243516" cy="6247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𝑀𝑃𝑂</m:t>
                      </m:r>
                      <m:r>
                        <a:rPr lang="en-GB" sz="14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nary>
                        <m:naryPr>
                          <m:chr m:val="∑"/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𝑙𝑙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𝑏𝑖𝑑𝑠</m:t>
                          </m:r>
                        </m:sub>
                        <m:sup/>
                        <m:e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𝐵𝑖𝑑</m:t>
                          </m:r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𝑃𝑟𝑖𝑐𝑒</m:t>
                          </m:r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 ∗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𝐵𝑖𝑑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𝑄𝑢𝑎𝑛𝑡𝑖𝑡𝑦</m:t>
                          </m:r>
                        </m:e>
                      </m:nary>
                    </m:oMath>
                  </m:oMathPara>
                </a14:m>
                <a:endParaRPr lang="en-GB" sz="1400"/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60137830-60A8-FB5B-CAA2-F2F5BE1DC8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3555" y="1483854"/>
                <a:ext cx="3243516" cy="62478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9BC091ED-52AF-81D1-BB29-9EBC2DED4383}"/>
                  </a:ext>
                </a:extLst>
              </p:cNvPr>
              <p:cNvSpPr txBox="1"/>
              <p:nvPr/>
            </p:nvSpPr>
            <p:spPr>
              <a:xfrm>
                <a:off x="4313195" y="2183026"/>
                <a:ext cx="4834849" cy="6247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𝐹𝑃𝑂</m:t>
                      </m:r>
                      <m:r>
                        <a:rPr lang="en-GB" sz="14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nary>
                        <m:naryPr>
                          <m:chr m:val="∑"/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𝑤𝑎𝑟𝑑𝑒𝑑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𝑏𝑖𝑑𝑠</m:t>
                          </m:r>
                        </m:sub>
                        <m:sup/>
                        <m:e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𝑎𝑟𝑔𝑖𝑛𝑎𝑙</m:t>
                          </m:r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𝐶𝑙𝑒𝑎𝑟𝑖𝑛𝑔</m:t>
                          </m:r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𝑃𝑟𝑖𝑐𝑒</m:t>
                          </m:r>
                          <m:r>
                            <a:rPr lang="de-DE" sz="14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 ∗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𝐵𝑖𝑑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𝑄𝑢𝑎𝑛𝑡𝑖𝑡𝑦</m:t>
                          </m:r>
                        </m:e>
                      </m:nary>
                    </m:oMath>
                  </m:oMathPara>
                </a14:m>
                <a:endParaRPr lang="en-GB" sz="1400"/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9BC091ED-52AF-81D1-BB29-9EBC2DED43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13195" y="2183026"/>
                <a:ext cx="4834849" cy="62478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feld 9">
            <a:extLst>
              <a:ext uri="{FF2B5EF4-FFF2-40B4-BE49-F238E27FC236}">
                <a16:creationId xmlns:a16="http://schemas.microsoft.com/office/drawing/2014/main" id="{8CD49D51-5182-B22B-5BDD-932A38574E44}"/>
              </a:ext>
            </a:extLst>
          </p:cNvPr>
          <p:cNvSpPr txBox="1"/>
          <p:nvPr/>
        </p:nvSpPr>
        <p:spPr>
          <a:xfrm>
            <a:off x="989580" y="1641439"/>
            <a:ext cx="27573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u="sng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ximum Payment Obligation</a:t>
            </a:r>
            <a:endParaRPr lang="en-GB"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99ECAD3-4207-F5EF-FA6E-C2D2F0B2D804}"/>
              </a:ext>
            </a:extLst>
          </p:cNvPr>
          <p:cNvSpPr txBox="1"/>
          <p:nvPr/>
        </p:nvSpPr>
        <p:spPr>
          <a:xfrm>
            <a:off x="993057" y="2341535"/>
            <a:ext cx="2310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u="sng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l Payment Obligation</a:t>
            </a:r>
            <a:endParaRPr lang="en-GB"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420E278-AE46-B54B-5120-ADD2A30E90B8}"/>
              </a:ext>
            </a:extLst>
          </p:cNvPr>
          <p:cNvSpPr/>
          <p:nvPr/>
        </p:nvSpPr>
        <p:spPr>
          <a:xfrm>
            <a:off x="376101" y="5732206"/>
            <a:ext cx="11300911" cy="56047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l Payment Obligation in most cases much lower than Maximum Payment Obligation.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2952C8A-CBA2-558A-15DC-4E4772F4BD9C}"/>
              </a:ext>
            </a:extLst>
          </p:cNvPr>
          <p:cNvSpPr txBox="1"/>
          <p:nvPr/>
        </p:nvSpPr>
        <p:spPr>
          <a:xfrm>
            <a:off x="9306928" y="1756755"/>
            <a:ext cx="239972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fferences between maximum and final payment obligation </a:t>
            </a:r>
            <a:r>
              <a:rPr lang="en-GB" sz="140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ghlighted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42836AA5-2518-C15C-1CEC-474049609BBB}"/>
              </a:ext>
            </a:extLst>
          </p:cNvPr>
          <p:cNvCxnSpPr>
            <a:endCxn id="13" idx="1"/>
          </p:cNvCxnSpPr>
          <p:nvPr/>
        </p:nvCxnSpPr>
        <p:spPr>
          <a:xfrm>
            <a:off x="6625988" y="1917510"/>
            <a:ext cx="2680940" cy="20857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C2713F6E-CFD0-E634-1DD9-3775186CDFD3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6730619" y="2126087"/>
            <a:ext cx="2576309" cy="26159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3887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5AD3FD-69A0-CE04-4B98-D3DF54A078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250DBD-7693-1FFE-6301-E8D65B5B0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llateral Improv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953BCC-6904-182B-0F2F-107861F90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>
                <a:latin typeface="Calibri"/>
                <a:ea typeface="Calibri"/>
                <a:cs typeface="Calibri"/>
              </a:rPr>
              <a:t>Proof of Concept Results: Key Performance Indicators based on Bids for Yearly 2025 Auction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A24E39D0-4273-6B40-8D12-05501FB5E1C9}"/>
              </a:ext>
            </a:extLst>
          </p:cNvPr>
          <p:cNvSpPr txBox="1">
            <a:spLocks/>
          </p:cNvSpPr>
          <p:nvPr/>
        </p:nvSpPr>
        <p:spPr>
          <a:xfrm>
            <a:off x="382585" y="1566504"/>
            <a:ext cx="11616268" cy="465937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endParaRPr lang="en-GB" b="0" i="0" u="none" strike="noStrike" kern="1200" cap="none" spc="0" normalizeH="0" baseline="0" noProof="0">
              <a:ln>
                <a:noFill/>
              </a:ln>
              <a:solidFill>
                <a:srgbClr val="3A3A3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EF0900E-34A1-AD66-BCBE-E2C5144CDD44}"/>
              </a:ext>
            </a:extLst>
          </p:cNvPr>
          <p:cNvSpPr/>
          <p:nvPr/>
        </p:nvSpPr>
        <p:spPr>
          <a:xfrm>
            <a:off x="376101" y="5732206"/>
            <a:ext cx="11300911" cy="56047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of of Concept shows positive results regarding all investigated KPIs.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48A8E8A5-3550-9E22-F0BA-393F737A8298}"/>
              </a:ext>
            </a:extLst>
          </p:cNvPr>
          <p:cNvSpPr txBox="1">
            <a:spLocks/>
          </p:cNvSpPr>
          <p:nvPr/>
        </p:nvSpPr>
        <p:spPr>
          <a:xfrm>
            <a:off x="382585" y="1566504"/>
            <a:ext cx="11158251" cy="465937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				</a:t>
            </a:r>
            <a:r>
              <a:rPr lang="en-US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Ex-ante Bid Filtering with Price Caps</a:t>
            </a: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		</a:t>
            </a:r>
            <a:r>
              <a:rPr lang="en-US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Optimal Bid Filtering</a:t>
            </a:r>
          </a:p>
          <a:p>
            <a:pPr>
              <a:defRPr/>
            </a:pPr>
            <a:r>
              <a:rPr lang="en-US" b="0" i="0" u="sng" strike="noStrike" kern="1200" cap="none" spc="0" normalizeH="0" baseline="0" noProof="0">
                <a:ln>
                  <a:noFill/>
                </a:ln>
                <a:solidFill>
                  <a:srgbClr val="3A3A3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KPI1: Auction Surplus</a:t>
            </a:r>
            <a:r>
              <a:rPr lang="en-US" b="0" i="0" strike="noStrike" kern="1200" cap="none" spc="0" normalizeH="0" baseline="0" noProof="0">
                <a:ln>
                  <a:noFill/>
                </a:ln>
                <a:solidFill>
                  <a:srgbClr val="3A3A3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			</a:t>
            </a:r>
            <a:r>
              <a:rPr lang="en-US" b="0" i="0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-8%</a:t>
            </a:r>
            <a:r>
              <a:rPr lang="en-US" b="0" i="0" strike="noStrike" kern="1200" cap="none" spc="0" normalizeH="0" baseline="0" noProof="0">
                <a:ln>
                  <a:noFill/>
                </a:ln>
                <a:solidFill>
                  <a:srgbClr val="3A3A3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				</a:t>
            </a:r>
            <a:r>
              <a:rPr lang="en-US" b="0" i="0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&lt;&lt;&lt;-0.1%</a:t>
            </a:r>
            <a:endParaRPr lang="en-US" b="0" i="0" u="sng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>
              <a:defRPr/>
            </a:pPr>
            <a:endParaRPr lang="en-US" b="0" u="sng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r>
              <a:rPr lang="en-US" b="0" i="0" u="sng" strike="noStrike" kern="1200" cap="none" spc="0" normalizeH="0" baseline="0" noProof="0">
                <a:ln>
                  <a:noFill/>
                </a:ln>
                <a:solidFill>
                  <a:srgbClr val="3A3A3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KPI2: Settlements</a:t>
            </a:r>
            <a:r>
              <a:rPr lang="en-US" b="0" i="0" strike="noStrike" kern="1200" cap="none" spc="0" normalizeH="0" baseline="0" noProof="0">
                <a:ln>
                  <a:noFill/>
                </a:ln>
                <a:solidFill>
                  <a:srgbClr val="3A3A3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				</a:t>
            </a:r>
            <a:r>
              <a:rPr lang="en-US" b="0" i="0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-12%</a:t>
            </a:r>
            <a:r>
              <a:rPr lang="en-US" b="0" i="0" strike="noStrike" kern="1200" cap="none" spc="0" normalizeH="0" baseline="0" noProof="0">
                <a:ln>
                  <a:noFill/>
                </a:ln>
                <a:solidFill>
                  <a:srgbClr val="3A3A3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				</a:t>
            </a:r>
            <a:r>
              <a:rPr lang="en-US" b="0" i="0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-0.2%</a:t>
            </a:r>
            <a:endParaRPr lang="en-US" b="0" i="0" u="sng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>
              <a:defRPr/>
            </a:pPr>
            <a:endParaRPr lang="en-US" b="0" u="sng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r>
              <a:rPr lang="en-US" b="0" i="0" u="sng" strike="noStrike" kern="1200" cap="none" spc="0" normalizeH="0" baseline="0" noProof="0">
                <a:ln>
                  <a:noFill/>
                </a:ln>
                <a:solidFill>
                  <a:srgbClr val="3A3A3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KPI3: Parado</a:t>
            </a:r>
            <a:r>
              <a:rPr lang="en-US" b="0" u="sng" err="1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xically</a:t>
            </a:r>
            <a:r>
              <a:rPr lang="en-US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 Filtered-Out Volumes</a:t>
            </a: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	</a:t>
            </a:r>
            <a:r>
              <a:rPr lang="en-US" b="0">
                <a:solidFill>
                  <a:schemeClr val="accent4"/>
                </a:solidFill>
                <a:latin typeface="Calibri"/>
                <a:ea typeface="Calibri"/>
                <a:cs typeface="Calibri"/>
              </a:rPr>
              <a:t>-4,4%</a:t>
            </a:r>
            <a:r>
              <a:rPr lang="en-US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				</a:t>
            </a:r>
            <a:r>
              <a:rPr lang="en-US" b="0">
                <a:solidFill>
                  <a:srgbClr val="00B050"/>
                </a:solidFill>
                <a:latin typeface="Calibri"/>
                <a:ea typeface="Calibri"/>
                <a:cs typeface="Calibri"/>
              </a:rPr>
              <a:t>-99.5%</a:t>
            </a:r>
            <a:br>
              <a:rPr lang="en-GB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</a:b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(compared to ex-ante bid filtering</a:t>
            </a:r>
            <a:b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</a:b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without price caps)</a:t>
            </a:r>
          </a:p>
          <a:p>
            <a:pPr>
              <a:defRPr/>
            </a:pPr>
            <a:endParaRPr lang="en-GB" b="0" u="sng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r>
              <a:rPr lang="en-GB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KPI4: Traded Volumes</a:t>
            </a: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			</a:t>
            </a:r>
            <a:r>
              <a:rPr lang="en-GB" b="0">
                <a:solidFill>
                  <a:schemeClr val="accent4"/>
                </a:solidFill>
                <a:latin typeface="Calibri"/>
                <a:ea typeface="Calibri"/>
                <a:cs typeface="Calibri"/>
              </a:rPr>
              <a:t>-22%</a:t>
            </a: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				</a:t>
            </a:r>
            <a:r>
              <a:rPr lang="en-GB" b="0">
                <a:solidFill>
                  <a:srgbClr val="00B050"/>
                </a:solidFill>
                <a:latin typeface="Calibri"/>
                <a:ea typeface="Calibri"/>
                <a:cs typeface="Calibri"/>
              </a:rPr>
              <a:t>-0.02%</a:t>
            </a:r>
            <a:br>
              <a:rPr lang="en-GB" b="0" u="sng">
                <a:solidFill>
                  <a:srgbClr val="3A3A3F"/>
                </a:solidFill>
                <a:latin typeface="Calibri"/>
                <a:ea typeface="Calibri"/>
                <a:cs typeface="Calibri"/>
              </a:rPr>
            </a:br>
            <a:r>
              <a:rPr lang="en-GB" b="0">
                <a:solidFill>
                  <a:srgbClr val="3A3A3F"/>
                </a:solidFill>
                <a:latin typeface="Calibri"/>
                <a:ea typeface="Calibri"/>
                <a:cs typeface="Calibri"/>
              </a:rPr>
              <a:t>(All Core Borders)</a:t>
            </a:r>
            <a:endParaRPr lang="en-US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9957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9DE0E6-D664-6DDC-0FFB-698EDC27DB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9A1724C-446B-1269-4D74-C526521F30F4}"/>
              </a:ext>
            </a:extLst>
          </p:cNvPr>
          <p:cNvSpPr txBox="1">
            <a:spLocks/>
          </p:cNvSpPr>
          <p:nvPr/>
        </p:nvSpPr>
        <p:spPr>
          <a:xfrm>
            <a:off x="534985" y="1718904"/>
            <a:ext cx="11012779" cy="465937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GB" b="0" noProof="1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r>
              <a:rPr lang="en-GB" b="0" noProof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            Currently TSOs and JAO are drafting the methodology amendments</a:t>
            </a:r>
          </a:p>
          <a:p>
            <a:pPr>
              <a:defRPr/>
            </a:pPr>
            <a:endParaRPr lang="en-GB" b="0" noProof="1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b="0" noProof="1">
                <a:latin typeface="Calibri"/>
                <a:ea typeface="Calibri"/>
                <a:cs typeface="Calibri"/>
              </a:rPr>
              <a:t>Foreseen main HAR Amendment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noProof="1">
                <a:latin typeface="Calibri"/>
                <a:ea typeface="Calibri"/>
                <a:cs typeface="Calibri"/>
              </a:rPr>
              <a:t>Article 23: Credit Limit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noProof="1">
                <a:latin typeface="Calibri"/>
                <a:ea typeface="Calibri"/>
                <a:cs typeface="Calibri"/>
              </a:rPr>
              <a:t>Article 34: Credit Limit Verification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noProof="1">
                <a:latin typeface="Calibri"/>
                <a:ea typeface="Calibri"/>
                <a:cs typeface="Calibri"/>
              </a:rPr>
              <a:t>Article 35: Auction Results Determin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b="0" noProof="1">
                <a:latin typeface="Calibri"/>
                <a:ea typeface="Calibri"/>
                <a:cs typeface="Calibri"/>
              </a:rPr>
              <a:t>Foreseen main SAP Amendment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noProof="1">
                <a:latin typeface="Calibri"/>
                <a:ea typeface="Calibri"/>
                <a:cs typeface="Calibri"/>
              </a:rPr>
              <a:t>Article 41: Mathematical Formulation of the long-term Allocation Algorithm</a:t>
            </a:r>
          </a:p>
          <a:p>
            <a:pPr>
              <a:defRPr/>
            </a:pPr>
            <a:endParaRPr lang="en-GB" noProof="1">
              <a:latin typeface="Calibri"/>
              <a:ea typeface="Calibri"/>
              <a:cs typeface="Calibri"/>
            </a:endParaRPr>
          </a:p>
          <a:p>
            <a:pPr>
              <a:defRPr/>
            </a:pPr>
            <a:r>
              <a:rPr lang="en-GB" noProof="1">
                <a:latin typeface="Calibri"/>
                <a:ea typeface="Calibri"/>
                <a:cs typeface="Calibri"/>
              </a:rPr>
              <a:t>             Goal: </a:t>
            </a:r>
            <a:r>
              <a:rPr lang="en-GB" b="0" noProof="1">
                <a:latin typeface="Calibri"/>
                <a:ea typeface="Calibri"/>
                <a:cs typeface="Calibri"/>
              </a:rPr>
              <a:t>Submit final amendment to ACER by end of Ma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noProof="1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b="0" noProof="1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b="0" noProof="1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b="0" i="0" u="none" strike="noStrike" kern="1200" cap="none" spc="0" normalizeH="0" baseline="0" noProof="1">
              <a:ln>
                <a:noFill/>
              </a:ln>
              <a:solidFill>
                <a:srgbClr val="3A3A3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CD070E-10AB-7F5A-A69B-41A07CE66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llateral Improv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2EB370-B9EC-B736-9388-F580CA2F8D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>
                <a:latin typeface="Calibri"/>
                <a:ea typeface="Calibri"/>
                <a:cs typeface="Calibri"/>
              </a:rPr>
              <a:t>HAR and SAP amendment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45ACA04F-F2FA-83FE-9C2C-B3CAD2F99F32}"/>
              </a:ext>
            </a:extLst>
          </p:cNvPr>
          <p:cNvSpPr txBox="1">
            <a:spLocks/>
          </p:cNvSpPr>
          <p:nvPr/>
        </p:nvSpPr>
        <p:spPr>
          <a:xfrm>
            <a:off x="382585" y="1566504"/>
            <a:ext cx="11616268" cy="465937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b="0">
              <a:solidFill>
                <a:srgbClr val="3A3A3F"/>
              </a:solidFill>
              <a:latin typeface="Calibri"/>
              <a:ea typeface="Calibri"/>
              <a:cs typeface="Calibri"/>
            </a:endParaRPr>
          </a:p>
          <a:p>
            <a:pPr>
              <a:defRPr/>
            </a:pPr>
            <a:endParaRPr lang="en-GB" b="0" i="0" u="none" strike="noStrike" kern="1200" cap="none" spc="0" normalizeH="0" baseline="0" noProof="0">
              <a:ln>
                <a:noFill/>
              </a:ln>
              <a:solidFill>
                <a:srgbClr val="3A3A3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5" name="Grafik 4" descr="Ziel Silhouette">
            <a:extLst>
              <a:ext uri="{FF2B5EF4-FFF2-40B4-BE49-F238E27FC236}">
                <a16:creationId xmlns:a16="http://schemas.microsoft.com/office/drawing/2014/main" id="{CD5E9D8B-46A4-2F0F-177F-387BD9F67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4236" y="5094044"/>
            <a:ext cx="540000" cy="540000"/>
          </a:xfrm>
          <a:prstGeom prst="rect">
            <a:avLst/>
          </a:prstGeom>
        </p:spPr>
      </p:pic>
      <p:pic>
        <p:nvPicPr>
          <p:cNvPr id="6" name="Grafik 5" descr="Dokument Silhouette">
            <a:extLst>
              <a:ext uri="{FF2B5EF4-FFF2-40B4-BE49-F238E27FC236}">
                <a16:creationId xmlns:a16="http://schemas.microsoft.com/office/drawing/2014/main" id="{3D333548-6633-CEAD-A221-0CD655DD8F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4236" y="197300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634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8F34142E-D78F-DF4C-8D2F-DB2AAEE5FF45}"/>
    </a:ext>
  </a:extLst>
</a:theme>
</file>

<file path=ppt/theme/theme10.xml><?xml version="1.0" encoding="utf-8"?>
<a:theme xmlns:a="http://schemas.openxmlformats.org/drawingml/2006/main" name="3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_ppt_template_with_new title_slides_210709.pptx" id="{AD71176E-1EE7-4AA8-AF3C-1E0837130DDD}" vid="{6436E805-6281-4D28-9214-61C90FC0BFD2}"/>
    </a:ext>
  </a:extLst>
</a:theme>
</file>

<file path=ppt/theme/theme11.xml><?xml version="1.0" encoding="utf-8"?>
<a:theme xmlns:a="http://schemas.openxmlformats.org/drawingml/2006/main" name="7_Magnus Red 4ENERGY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12.xml><?xml version="1.0" encoding="utf-8"?>
<a:theme xmlns:a="http://schemas.openxmlformats.org/drawingml/2006/main" name="4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5760BF1-A972-D844-8595-9E61C43D0D9C}"/>
    </a:ext>
  </a:extLst>
</a:theme>
</file>

<file path=ppt/theme/theme13.xml><?xml version="1.0" encoding="utf-8"?>
<a:theme xmlns:a="http://schemas.openxmlformats.org/drawingml/2006/main" name="8_Magnus Red 4ENERGY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1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B3A98F9B-A3FE-FF41-91B7-9FC6C5C34F6E}"/>
    </a:ext>
  </a:extLst>
</a:theme>
</file>

<file path=ppt/theme/theme3.xml><?xml version="1.0" encoding="utf-8"?>
<a:theme xmlns:a="http://schemas.openxmlformats.org/drawingml/2006/main" name="4_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DA89A99-D0A5-684E-9556-1D1BB4DAFE6B}"/>
    </a:ext>
  </a:extLst>
</a:theme>
</file>

<file path=ppt/theme/theme4.xml><?xml version="1.0" encoding="utf-8"?>
<a:theme xmlns:a="http://schemas.openxmlformats.org/drawingml/2006/main" name="8_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DA89A99-D0A5-684E-9556-1D1BB4DAFE6B}"/>
    </a:ext>
  </a:extLst>
</a:theme>
</file>

<file path=ppt/theme/theme5.xml><?xml version="1.0" encoding="utf-8"?>
<a:theme xmlns:a="http://schemas.openxmlformats.org/drawingml/2006/main" name="9_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DA89A99-D0A5-684E-9556-1D1BB4DAFE6B}"/>
    </a:ext>
  </a:extLst>
</a:theme>
</file>

<file path=ppt/theme/theme6.xml><?xml version="1.0" encoding="utf-8"?>
<a:theme xmlns:a="http://schemas.openxmlformats.org/drawingml/2006/main" name="2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5760BF1-A972-D844-8595-9E61C43D0D9C}"/>
    </a:ext>
  </a:extLst>
</a:theme>
</file>

<file path=ppt/theme/theme7.xml><?xml version="1.0" encoding="utf-8"?>
<a:theme xmlns:a="http://schemas.openxmlformats.org/drawingml/2006/main" name="13_Mission Statemen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171690AB-E963-8A4D-AD43-C26DFC53C852}"/>
    </a:ext>
  </a:extLst>
</a:theme>
</file>

<file path=ppt/theme/theme8.xml><?xml version="1.0" encoding="utf-8"?>
<a:theme xmlns:a="http://schemas.openxmlformats.org/drawingml/2006/main" name="14_blank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171690AB-E963-8A4D-AD43-C26DFC53C852}"/>
    </a:ext>
  </a:extLst>
</a:theme>
</file>

<file path=ppt/theme/theme9.xml><?xml version="1.0" encoding="utf-8"?>
<a:theme xmlns:a="http://schemas.openxmlformats.org/drawingml/2006/main" name="3_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B3A98F9B-A3FE-FF41-91B7-9FC6C5C34F6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0AE85AC01D864D8D4B01F9E9111D70" ma:contentTypeVersion="47" ma:contentTypeDescription="Create a new document." ma:contentTypeScope="" ma:versionID="c914586190f3f14cc372bd3a74537f9a">
  <xsd:schema xmlns:xsd="http://www.w3.org/2001/XMLSchema" xmlns:xs="http://www.w3.org/2001/XMLSchema" xmlns:p="http://schemas.microsoft.com/office/2006/metadata/properties" xmlns:ns2="e3fb2008-9808-4f29-aa32-2f66631018ed" xmlns:ns3="6fd7c2e6-5f11-4825-acaf-416a636dd776" targetNamespace="http://schemas.microsoft.com/office/2006/metadata/properties" ma:root="true" ma:fieldsID="be5bf9ed4ec0b5c0920a711aebae5dbd" ns2:_="" ns3:_="">
    <xsd:import namespace="e3fb2008-9808-4f29-aa32-2f66631018ed"/>
    <xsd:import namespace="6fd7c2e6-5f11-4825-acaf-416a636dd776"/>
    <xsd:element name="properties">
      <xsd:complexType>
        <xsd:sequence>
          <xsd:element name="documentManagement">
            <xsd:complexType>
              <xsd:all>
                <xsd:element ref="ns2:Business_x0020_Record" minOccurs="0"/>
                <xsd:element ref="ns2:Document_x0020_Type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DateTaken" minOccurs="0"/>
                <xsd:element ref="ns3:MediaServiceObjectDetectorVersions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YENTSOE_SiteType" minOccurs="0"/>
                <xsd:element ref="ns3:l47dd307fa8b4fe7a85f8d39b37edae3" minOccurs="0"/>
                <xsd:element ref="ns2:TaxCatchAll" minOccurs="0"/>
                <xsd:element ref="ns3:idc09dc9b2ca4ffa91b80c8150a59bab" minOccurs="0"/>
                <xsd:element ref="ns3:oad3333f905246578ee315b1cb5d3b02" minOccurs="0"/>
                <xsd:element ref="ns3:h01eaf792a3343fb943e2729fa6d99d3" minOccurs="0"/>
                <xsd:element ref="ns3:p1d38bfbcacf4e61b5619cce51d4a28d" minOccurs="0"/>
                <xsd:element ref="ns3:l3a0085976e441cd9f75b2cc3e260696" minOccurs="0"/>
                <xsd:element ref="ns3:bb17b987b8384aa5b97e0b308074d692" minOccurs="0"/>
                <xsd:element ref="ns3:kbefa2984ef346109e8aeebeca64e073" minOccurs="0"/>
                <xsd:element ref="ns3:m92436f4baf54f7a92359205448155d8" minOccurs="0"/>
                <xsd:element ref="ns3:g0f3318691484b72ad81fea978968dfb" minOccurs="0"/>
                <xsd:element ref="ns3:lcf76f155ced4ddcb4097134ff3c332f" minOccurs="0"/>
                <xsd:element ref="ns3:MediaServiceOCR" minOccurs="0"/>
                <xsd:element ref="ns3:l62030b5ac234bd19f69cc2afd1ccdc0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fb2008-9808-4f29-aa32-2f66631018ed" elementFormDefault="qualified">
    <xsd:import namespace="http://schemas.microsoft.com/office/2006/documentManagement/types"/>
    <xsd:import namespace="http://schemas.microsoft.com/office/infopath/2007/PartnerControls"/>
    <xsd:element name="Business_x0020_Record" ma:index="4" nillable="true" ma:displayName="Business Record" ma:list="{bcf67a8f-8582-4a56-a358-160b5a3dbf73}" ma:internalName="Business_x0020_Record" ma:readOnly="false" ma:showField="Title" ma:web="e3fb2008-9808-4f29-aa32-2f66631018ed">
      <xsd:simpleType>
        <xsd:restriction base="dms:Lookup"/>
      </xsd:simpleType>
    </xsd:element>
    <xsd:element name="Document_x0020_Type" ma:index="5" nillable="true" ma:displayName="Document Type" ma:list="{2dfe6d64-a782-4349-ac2b-ef16b21cccb4}" ma:internalName="Document_x0020_Type" ma:readOnly="false" ma:showField="Title" ma:web="e3fb2008-9808-4f29-aa32-2f66631018ed">
      <xsd:simpleType>
        <xsd:restriction base="dms:Lookup"/>
      </xsd:simpleType>
    </xsd:element>
    <xsd:element name="TaxCatchAll" ma:index="21" nillable="true" ma:displayName="Taxonomy Catch All Column" ma:hidden="true" ma:list="{7dbaaada-9658-4aff-a411-1fae99ae6053}" ma:internalName="TaxCatchAll" ma:showField="CatchAllData" ma:web="e3fb2008-9808-4f29-aa32-2f66631018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d7c2e6-5f11-4825-acaf-416a636dd7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4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YENTSOE_SiteType" ma:index="18" nillable="true" ma:displayName="Site Type" ma:default="MYENTSOE" ma:internalName="MYENTSOE_SiteType">
      <xsd:simpleType>
        <xsd:restriction base="dms:Text"/>
      </xsd:simpleType>
    </xsd:element>
    <xsd:element name="l47dd307fa8b4fe7a85f8d39b37edae3" ma:index="20" nillable="true" ma:taxonomy="true" ma:internalName="l47dd307fa8b4fe7a85f8d39b37edae3" ma:taxonomyFieldName="MYENTSOE_PublicType" ma:displayName="Public Type" ma:default="58;#Extranet|922fc1ba-0c8d-4fbf-b30d-83722d0f30f2" ma:fieldId="{547dd307-fa8b-4fe7-a85f-8d39b37edae3}" ma:sspId="0cf2b176-d4dc-4d18-8c95-51f9f2dafcd3" ma:termSetId="a0d7c562-4a8e-458a-9f8a-6a29e3d3b26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dc09dc9b2ca4ffa91b80c8150a59bab" ma:index="23" nillable="true" ma:taxonomy="true" ma:internalName="idc09dc9b2ca4ffa91b80c8150a59bab" ma:taxonomyFieldName="MYENTSOE_Section" ma:displayName="Section" ma:default="59;#SOC|9c3d8e82-100e-4fd9-bd38-ee954c2338b5" ma:fieldId="{2dc09dc9-b2ca-4ffa-91b8-0c8150a59bab}" ma:sspId="0cf2b176-d4dc-4d18-8c95-51f9f2dafcd3" ma:termSetId="ca6f290f-ffad-40e7-8c84-e8889b66544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ad3333f905246578ee315b1cb5d3b02" ma:index="25" nillable="true" ma:taxonomy="true" ma:internalName="oad3333f905246578ee315b1cb5d3b02" ma:taxonomyFieldName="MYENTSOE_Classification1" ma:displayName="Classification 1" ma:fieldId="{8ad3333f-9052-4657-8ee3-15b1cb5d3b02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1eaf792a3343fb943e2729fa6d99d3" ma:index="27" nillable="true" ma:taxonomy="true" ma:internalName="h01eaf792a3343fb943e2729fa6d99d3" ma:taxonomyFieldName="MYENTSOE_Classification2" ma:displayName="Classification 2" ma:fieldId="{101eaf79-2a33-43fb-943e-2729fa6d99d3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1d38bfbcacf4e61b5619cce51d4a28d" ma:index="29" nillable="true" ma:taxonomy="true" ma:internalName="p1d38bfbcacf4e61b5619cce51d4a28d" ma:taxonomyFieldName="MYENTSOE_Classification3" ma:displayName="Classification 3" ma:fieldId="{91d38bfb-cacf-4e61-b561-9cce51d4a28d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3a0085976e441cd9f75b2cc3e260696" ma:index="31" nillable="true" ma:taxonomy="true" ma:internalName="l3a0085976e441cd9f75b2cc3e260696" ma:taxonomyFieldName="MYENTSOE_Classification4" ma:displayName="Classification 4" ma:fieldId="{53a00859-76e4-41cd-9f75-b2cc3e260696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b17b987b8384aa5b97e0b308074d692" ma:index="33" nillable="true" ma:taxonomy="true" ma:internalName="bb17b987b8384aa5b97e0b308074d692" ma:taxonomyFieldName="MYENTSOE_SharingType" ma:displayName="Sharing Type" ma:default="60;#Shared|04da8cfa-2b68-4725-9db5-e7b66ab623e6" ma:fieldId="{bb17b987-b838-4aa5-b97e-0b308074d692}" ma:sspId="0cf2b176-d4dc-4d18-8c95-51f9f2dafcd3" ma:termSetId="09b229b3-e0b6-423a-b819-7f93001a6e2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befa2984ef346109e8aeebeca64e073" ma:index="35" nillable="true" ma:taxonomy="true" ma:internalName="kbefa2984ef346109e8aeebeca64e073" ma:taxonomyFieldName="Confidentiality" ma:displayName="Confidentiality" ma:fieldId="{4befa298-4ef3-4610-9e8a-eebeca64e073}" ma:sspId="0cf2b176-d4dc-4d18-8c95-51f9f2dafcd3" ma:termSetId="1aeb3a4d-5a56-4fc5-b0c8-230b3cd7bda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92436f4baf54f7a92359205448155d8" ma:index="37" nillable="true" ma:taxonomy="true" ma:internalName="m92436f4baf54f7a92359205448155d8" ma:taxonomyFieldName="MYENTSOE_DataClassification" ma:displayName="Data Classification" ma:fieldId="{692436f4-baf5-4f7a-9235-9205448155d8}" ma:sspId="0cf2b176-d4dc-4d18-8c95-51f9f2dafcd3" ma:termSetId="ed1fa8aa-003c-40ab-bfad-ae0429370d9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0f3318691484b72ad81fea978968dfb" ma:index="39" nillable="true" ma:taxonomy="true" ma:internalName="g0f3318691484b72ad81fea978968dfb" ma:taxonomyFieldName="MYENTSOE_DocumentClassification" ma:displayName="Document Classification" ma:fieldId="{00f33186-9148-4b72-ad81-fea978968dfb}" ma:sspId="0cf2b176-d4dc-4d18-8c95-51f9f2dafcd3" ma:termSetId="8b91b5eb-b01b-44d4-a921-6f52ae5aec3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cf76f155ced4ddcb4097134ff3c332f" ma:index="41" nillable="true" ma:taxonomy="true" ma:internalName="lcf76f155ced4ddcb4097134ff3c332f" ma:taxonomyFieldName="MediaServiceImageTags" ma:displayName="Image Tags" ma:readOnly="false" ma:fieldId="{5cf76f15-5ced-4ddc-b409-7134ff3c332f}" ma:taxonomyMulti="true" ma:sspId="0cf2b176-d4dc-4d18-8c95-51f9f2dafc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4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62030b5ac234bd19f69cc2afd1ccdc0" ma:index="44" nillable="true" ma:taxonomy="true" ma:internalName="l62030b5ac234bd19f69cc2afd1ccdc0" ma:taxonomyFieldName="Document_x0020_Category" ma:displayName="Document Category" ma:fieldId="{562030b5-ac23-4bd1-9f69-cc2afd1ccdc0}" ma:sspId="0cf2b176-d4dc-4d18-8c95-51f9f2dafcd3" ma:termSetId="b6272f75-190c-4d15-bd6d-713db501393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ServiceBillingMetadata" ma:index="4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3fb2008-9808-4f29-aa32-2f66631018ed">
      <Value>60</Value>
      <Value>58</Value>
      <Value>64</Value>
    </TaxCatchAll>
    <Document_x0020_Type xmlns="e3fb2008-9808-4f29-aa32-2f66631018ed" xsi:nil="true"/>
    <Business_x0020_Record xmlns="e3fb2008-9808-4f29-aa32-2f66631018ed" xsi:nil="true"/>
    <MYENTSOE_SiteType xmlns="6fd7c2e6-5f11-4825-acaf-416a636dd776">MYENTSOE</MYENTSOE_SiteType>
    <g0f3318691484b72ad81fea978968dfb xmlns="6fd7c2e6-5f11-4825-acaf-416a636dd776">
      <Terms xmlns="http://schemas.microsoft.com/office/infopath/2007/PartnerControls"/>
    </g0f3318691484b72ad81fea978968dfb>
    <h01eaf792a3343fb943e2729fa6d99d3 xmlns="6fd7c2e6-5f11-4825-acaf-416a636dd776">
      <Terms xmlns="http://schemas.microsoft.com/office/infopath/2007/PartnerControls"/>
    </h01eaf792a3343fb943e2729fa6d99d3>
    <idc09dc9b2ca4ffa91b80c8150a59bab xmlns="6fd7c2e6-5f11-4825-acaf-416a636dd776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SC</TermName>
          <TermId xmlns="http://schemas.microsoft.com/office/infopath/2007/PartnerControls">1c351d63-c2a0-498e-9375-f541cae965ad</TermId>
        </TermInfo>
      </Terms>
    </idc09dc9b2ca4ffa91b80c8150a59bab>
    <l62030b5ac234bd19f69cc2afd1ccdc0 xmlns="6fd7c2e6-5f11-4825-acaf-416a636dd776">
      <Terms xmlns="http://schemas.microsoft.com/office/infopath/2007/PartnerControls"/>
    </l62030b5ac234bd19f69cc2afd1ccdc0>
    <p1d38bfbcacf4e61b5619cce51d4a28d xmlns="6fd7c2e6-5f11-4825-acaf-416a636dd776">
      <Terms xmlns="http://schemas.microsoft.com/office/infopath/2007/PartnerControls"/>
    </p1d38bfbcacf4e61b5619cce51d4a28d>
    <l3a0085976e441cd9f75b2cc3e260696 xmlns="6fd7c2e6-5f11-4825-acaf-416a636dd776">
      <Terms xmlns="http://schemas.microsoft.com/office/infopath/2007/PartnerControls"/>
    </l3a0085976e441cd9f75b2cc3e260696>
    <l47dd307fa8b4fe7a85f8d39b37edae3 xmlns="6fd7c2e6-5f11-4825-acaf-416a636dd77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xtranet</TermName>
          <TermId xmlns="http://schemas.microsoft.com/office/infopath/2007/PartnerControls">922fc1ba-0c8d-4fbf-b30d-83722d0f30f2</TermId>
        </TermInfo>
      </Terms>
    </l47dd307fa8b4fe7a85f8d39b37edae3>
    <m92436f4baf54f7a92359205448155d8 xmlns="6fd7c2e6-5f11-4825-acaf-416a636dd776">
      <Terms xmlns="http://schemas.microsoft.com/office/infopath/2007/PartnerControls"/>
    </m92436f4baf54f7a92359205448155d8>
    <lcf76f155ced4ddcb4097134ff3c332f xmlns="6fd7c2e6-5f11-4825-acaf-416a636dd776">
      <Terms xmlns="http://schemas.microsoft.com/office/infopath/2007/PartnerControls"/>
    </lcf76f155ced4ddcb4097134ff3c332f>
    <kbefa2984ef346109e8aeebeca64e073 xmlns="6fd7c2e6-5f11-4825-acaf-416a636dd776">
      <Terms xmlns="http://schemas.microsoft.com/office/infopath/2007/PartnerControls"/>
    </kbefa2984ef346109e8aeebeca64e073>
    <oad3333f905246578ee315b1cb5d3b02 xmlns="6fd7c2e6-5f11-4825-acaf-416a636dd776">
      <Terms xmlns="http://schemas.microsoft.com/office/infopath/2007/PartnerControls"/>
    </oad3333f905246578ee315b1cb5d3b02>
    <bb17b987b8384aa5b97e0b308074d692 xmlns="6fd7c2e6-5f11-4825-acaf-416a636dd776">
      <Terms xmlns="http://schemas.microsoft.com/office/infopath/2007/PartnerControls">
        <TermInfo xmlns="http://schemas.microsoft.com/office/infopath/2007/PartnerControls">
          <TermName xmlns="http://schemas.microsoft.com/office/infopath/2007/PartnerControls">Shared</TermName>
          <TermId xmlns="http://schemas.microsoft.com/office/infopath/2007/PartnerControls">04da8cfa-2b68-4725-9db5-e7b66ab623e6</TermId>
        </TermInfo>
      </Terms>
    </bb17b987b8384aa5b97e0b308074d692>
  </documentManagement>
</p:properties>
</file>

<file path=customXml/itemProps1.xml><?xml version="1.0" encoding="utf-8"?>
<ds:datastoreItem xmlns:ds="http://schemas.openxmlformats.org/officeDocument/2006/customXml" ds:itemID="{14BB429B-6127-40B2-95B1-872F69030D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fb2008-9808-4f29-aa32-2f66631018ed"/>
    <ds:schemaRef ds:uri="6fd7c2e6-5f11-4825-acaf-416a636dd7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DFCBDCE-3240-4A92-92E2-E504F580BF0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A6A3DC6-D96E-4665-B894-4DDCCA045DA7}">
  <ds:schemaRefs>
    <ds:schemaRef ds:uri="bca4c1c7-ecb6-4582-a708-ca09c7f7ccf2"/>
    <ds:schemaRef ds:uri="e3fb2008-9808-4f29-aa32-2f66631018e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6fd7c2e6-5f11-4825-acaf-416a636dd77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tso-e new powerpoint template (2)</Template>
  <TotalTime>1</TotalTime>
  <Words>931</Words>
  <Application>Microsoft Office PowerPoint</Application>
  <PresentationFormat>Widescreen</PresentationFormat>
  <Paragraphs>105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7" baseType="lpstr">
      <vt:lpstr>Arial</vt:lpstr>
      <vt:lpstr>Calibri</vt:lpstr>
      <vt:lpstr>Cambria Math</vt:lpstr>
      <vt:lpstr>Trebuchet MS</vt:lpstr>
      <vt:lpstr>Wingdings</vt:lpstr>
      <vt:lpstr>5_ENTSO-E Cover</vt:lpstr>
      <vt:lpstr>2_ENTSO-E Cover</vt:lpstr>
      <vt:lpstr>4_ENTSO-E Cover</vt:lpstr>
      <vt:lpstr>8_ENTSO-E Cover</vt:lpstr>
      <vt:lpstr>9_ENTSO-E Cover</vt:lpstr>
      <vt:lpstr>2_ENTSO-E Content</vt:lpstr>
      <vt:lpstr>13_Mission Statement</vt:lpstr>
      <vt:lpstr>14_blank slide</vt:lpstr>
      <vt:lpstr>3_ENTSO-E Cover</vt:lpstr>
      <vt:lpstr>3_ENTSO-E Content</vt:lpstr>
      <vt:lpstr>7_Magnus Red 4ENERGY</vt:lpstr>
      <vt:lpstr>4_ENTSO-E Content</vt:lpstr>
      <vt:lpstr>8_Magnus Red 4ENERGY</vt:lpstr>
      <vt:lpstr>think-cell Slide</vt:lpstr>
      <vt:lpstr>Collateral Improvements Proof of Concept</vt:lpstr>
      <vt:lpstr>Collateral Improvements</vt:lpstr>
      <vt:lpstr>Collateral Improvements</vt:lpstr>
      <vt:lpstr>Collateral Improvements</vt:lpstr>
      <vt:lpstr>Collateral Improvements</vt:lpstr>
      <vt:lpstr>Collateral Improvements</vt:lpstr>
      <vt:lpstr>Collateral Improvements</vt:lpstr>
      <vt:lpstr>Collateral Improvements</vt:lpstr>
    </vt:vector>
  </TitlesOfParts>
  <Company/>
  <LinksUpToDate>false</LinksUpToDate>
  <SharedDoc>false</SharedDoc>
  <HyperlinkBase>https://www.evg-online.org/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owerPoint Master</dc:subject>
  <dc:creator>Claire Camus</dc:creator>
  <cp:keywords/>
  <cp:lastModifiedBy>Nicoletta Michael</cp:lastModifiedBy>
  <cp:revision>5</cp:revision>
  <dcterms:created xsi:type="dcterms:W3CDTF">2021-06-08T11:51:26Z</dcterms:created>
  <dcterms:modified xsi:type="dcterms:W3CDTF">2026-03-03T17:10:27Z</dcterms:modified>
  <cp:category>PowerPoint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0AE85AC01D864D8D4B01F9E9111D70</vt:lpwstr>
  </property>
  <property fmtid="{D5CDD505-2E9C-101B-9397-08002B2CF9AE}" pid="3" name="Order">
    <vt:r8>10100</vt:r8>
  </property>
  <property fmtid="{D5CDD505-2E9C-101B-9397-08002B2CF9AE}" pid="4" name="MYENTSOE_Classification2">
    <vt:lpwstr/>
  </property>
  <property fmtid="{D5CDD505-2E9C-101B-9397-08002B2CF9AE}" pid="5" name="Confidentiality">
    <vt:lpwstr/>
  </property>
  <property fmtid="{D5CDD505-2E9C-101B-9397-08002B2CF9AE}" pid="6" name="MYENTSOE_Classification3">
    <vt:lpwstr/>
  </property>
  <property fmtid="{D5CDD505-2E9C-101B-9397-08002B2CF9AE}" pid="7" name="MYENTSOE_PublicType">
    <vt:lpwstr>58;#Extranet|922fc1ba-0c8d-4fbf-b30d-83722d0f30f2</vt:lpwstr>
  </property>
  <property fmtid="{D5CDD505-2E9C-101B-9397-08002B2CF9AE}" pid="8" name="MYENTSOE_SharingType">
    <vt:lpwstr>60;#Shared|04da8cfa-2b68-4725-9db5-e7b66ab623e6</vt:lpwstr>
  </property>
  <property fmtid="{D5CDD505-2E9C-101B-9397-08002B2CF9AE}" pid="9" name="MYENTSOE_Classification1">
    <vt:lpwstr/>
  </property>
  <property fmtid="{D5CDD505-2E9C-101B-9397-08002B2CF9AE}" pid="10" name="MYENTSOE_Section">
    <vt:lpwstr>64;#MISC|1c351d63-c2a0-498e-9375-f541cae965ad</vt:lpwstr>
  </property>
  <property fmtid="{D5CDD505-2E9C-101B-9397-08002B2CF9AE}" pid="11" name="MYENTSOE_Classification4">
    <vt:lpwstr/>
  </property>
  <property fmtid="{D5CDD505-2E9C-101B-9397-08002B2CF9AE}" pid="12" name="MYENTSOE_DocumentClassification">
    <vt:lpwstr/>
  </property>
  <property fmtid="{D5CDD505-2E9C-101B-9397-08002B2CF9AE}" pid="13" name="MYENTSOE_DataClassification">
    <vt:lpwstr/>
  </property>
  <property fmtid="{D5CDD505-2E9C-101B-9397-08002B2CF9AE}" pid="14" name="Document Category">
    <vt:lpwstr/>
  </property>
  <property fmtid="{D5CDD505-2E9C-101B-9397-08002B2CF9AE}" pid="15" name="Document_x0020_Category">
    <vt:lpwstr/>
  </property>
  <property fmtid="{D5CDD505-2E9C-101B-9397-08002B2CF9AE}" pid="16" name="TaxKeyword">
    <vt:lpwstr/>
  </property>
  <property fmtid="{D5CDD505-2E9C-101B-9397-08002B2CF9AE}" pid="17" name="MediaServiceImageTags">
    <vt:lpwstr/>
  </property>
  <property fmtid="{D5CDD505-2E9C-101B-9397-08002B2CF9AE}" pid="18" name="MSIP_Label_26326a25-05b5-4156-bd4d-89acce8cd3b1_Enabled">
    <vt:lpwstr>True</vt:lpwstr>
  </property>
  <property fmtid="{D5CDD505-2E9C-101B-9397-08002B2CF9AE}" pid="19" name="MSIP_Label_26326a25-05b5-4156-bd4d-89acce8cd3b1_SiteId">
    <vt:lpwstr>7ffbeccf-0c1b-496c-8978-89209c2d375d</vt:lpwstr>
  </property>
  <property fmtid="{D5CDD505-2E9C-101B-9397-08002B2CF9AE}" pid="20" name="MSIP_Label_26326a25-05b5-4156-bd4d-89acce8cd3b1_SetDate">
    <vt:lpwstr>2026-02-13T15:17:39Z</vt:lpwstr>
  </property>
  <property fmtid="{D5CDD505-2E9C-101B-9397-08002B2CF9AE}" pid="21" name="MSIP_Label_26326a25-05b5-4156-bd4d-89acce8cd3b1_Name">
    <vt:lpwstr>Open within ENTSO-E</vt:lpwstr>
  </property>
  <property fmtid="{D5CDD505-2E9C-101B-9397-08002B2CF9AE}" pid="22" name="MSIP_Label_26326a25-05b5-4156-bd4d-89acce8cd3b1_ActionId">
    <vt:lpwstr>d18408d3-0d5d-4c68-ab7f-0abfb3b85f7d</vt:lpwstr>
  </property>
  <property fmtid="{D5CDD505-2E9C-101B-9397-08002B2CF9AE}" pid="23" name="MSIP_Label_26326a25-05b5-4156-bd4d-89acce8cd3b1_Removed">
    <vt:lpwstr>False</vt:lpwstr>
  </property>
  <property fmtid="{D5CDD505-2E9C-101B-9397-08002B2CF9AE}" pid="24" name="MSIP_Label_26326a25-05b5-4156-bd4d-89acce8cd3b1_Extended_MSFT_Method">
    <vt:lpwstr>Standard</vt:lpwstr>
  </property>
  <property fmtid="{D5CDD505-2E9C-101B-9397-08002B2CF9AE}" pid="25" name="Sensitivity">
    <vt:lpwstr>Open within ENTSO-E</vt:lpwstr>
  </property>
</Properties>
</file>